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7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  <p:sldMasterId id="2147483861" r:id="rId2"/>
    <p:sldMasterId id="2147483866" r:id="rId3"/>
    <p:sldMasterId id="2147483871" r:id="rId4"/>
    <p:sldMasterId id="2147483917" r:id="rId5"/>
    <p:sldMasterId id="2147483922" r:id="rId6"/>
    <p:sldMasterId id="2147484020" r:id="rId7"/>
  </p:sldMasterIdLst>
  <p:notesMasterIdLst>
    <p:notesMasterId r:id="rId24"/>
  </p:notesMasterIdLst>
  <p:sldIdLst>
    <p:sldId id="260" r:id="rId8"/>
    <p:sldId id="291" r:id="rId9"/>
    <p:sldId id="264" r:id="rId10"/>
    <p:sldId id="283" r:id="rId11"/>
    <p:sldId id="292" r:id="rId12"/>
    <p:sldId id="293" r:id="rId13"/>
    <p:sldId id="294" r:id="rId14"/>
    <p:sldId id="295" r:id="rId15"/>
    <p:sldId id="296" r:id="rId16"/>
    <p:sldId id="274" r:id="rId17"/>
    <p:sldId id="289" r:id="rId18"/>
    <p:sldId id="297" r:id="rId19"/>
    <p:sldId id="268" r:id="rId20"/>
    <p:sldId id="299" r:id="rId21"/>
    <p:sldId id="300" r:id="rId22"/>
    <p:sldId id="286" r:id="rId23"/>
  </p:sldIdLst>
  <p:sldSz cx="9144000" cy="6858000" type="screen4x3"/>
  <p:notesSz cx="6858000" cy="9144000"/>
  <p:defaultTextStyle>
    <a:defPPr>
      <a:defRPr lang="ru-RU"/>
    </a:defPPr>
    <a:lvl1pPr marL="0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9141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300" y="-126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B617DA-5A8E-4D4D-B557-29EB308AEC65}" type="datetimeFigureOut">
              <a:rPr lang="ru-RU" smtClean="0"/>
              <a:t>07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97B15E-DE39-48BF-8668-5BD75063E7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2100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685CB-AE97-49E2-8458-81C8ABAE4D01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380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.jpe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.jpeg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jpeg"/><Relationship Id="rId2" Type="http://schemas.openxmlformats.org/officeDocument/2006/relationships/tags" Target="../tags/tag1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6.jpe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jpe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852491"/>
              </p:ext>
            </p:extLst>
          </p:nvPr>
        </p:nvGraphicFramePr>
        <p:xfrm>
          <a:off x="163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1" y="163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32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7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86" y="1463565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86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86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4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24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196" tIns="46599" rIns="93196" bIns="46599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432"/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86" y="6289648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0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0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254372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02296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54" y="6250164"/>
            <a:ext cx="3786691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214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622683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3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79" y="1463558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79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9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36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16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266" tIns="46633" rIns="93266" bIns="46633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79" y="6289641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094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094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356707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640470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8" y="6640470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9366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470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8" y="6640470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6321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2506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55314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0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76" y="1463555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76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6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13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76" y="6289638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583050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4901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248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71207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96967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0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76" y="1463555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76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6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13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76" y="6289638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836478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910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6753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0535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04344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610738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3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79" y="1463558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79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9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36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16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266" tIns="46633" rIns="93266" bIns="46633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79" y="6289641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094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094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89379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640470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8" y="6640470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2620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470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8" y="6640470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839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04469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89792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3469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402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899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82970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2094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650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4447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8487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6878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55718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9074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4901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470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5375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32354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827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42231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2026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4672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9893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7492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521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12797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2426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114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21743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5528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6108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87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95569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76228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101586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033661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298911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253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221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3169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667575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1540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616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21350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31111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018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1241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24933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707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3755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39904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72988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7668966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93779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008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097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9362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869673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546899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29448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15543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682310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63258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26396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1901822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1834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28176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664046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05" y="664046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6753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78911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68658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64047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15" y="664047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3831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6193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285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5271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4365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7853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60192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156912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1146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62161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763973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6410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47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15" y="664047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3206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639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7752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902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018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587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80416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8705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72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4541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34996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6349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6502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7319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253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7442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92159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8936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8414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653534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4978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4229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16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6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9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54" y="6250164"/>
            <a:ext cx="3786691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729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939876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7354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62031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36312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4965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74365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0065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142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55696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125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8797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54" y="6250164"/>
            <a:ext cx="3786691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214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91438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105688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5870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0058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510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2877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82266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04328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22706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93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3488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515703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03662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06981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035268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25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4951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98"/>
            <a:ext cx="8642350" cy="4752627"/>
          </a:xfrm>
        </p:spPr>
        <p:txBody>
          <a:bodyPr/>
          <a:lstStyle>
            <a:lvl1pPr>
              <a:defRPr baseline="0"/>
            </a:lvl1pPr>
            <a:lvl2pPr marL="360573" indent="0">
              <a:buNone/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Agenda item 1 </a:t>
            </a:r>
            <a:br>
              <a:rPr lang="en-US" dirty="0" smtClean="0"/>
            </a:br>
            <a:r>
              <a:rPr lang="en-US" dirty="0" smtClean="0"/>
              <a:t>Agenda item 2</a:t>
            </a:r>
            <a:br>
              <a:rPr lang="en-US" dirty="0" smtClean="0"/>
            </a:br>
            <a:r>
              <a:rPr lang="en-US" dirty="0" smtClean="0"/>
              <a:t>Agenda item 3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39301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84" y="126623"/>
            <a:ext cx="7440163" cy="768000"/>
          </a:xfrm>
        </p:spPr>
        <p:txBody>
          <a:bodyPr vert="horz" lIns="91092" tIns="45548" rIns="91092" bIns="45548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700213"/>
            <a:ext cx="8642350" cy="4321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366377" indent="0">
              <a:buNone/>
              <a:defRPr/>
            </a:lvl4pPr>
            <a:lvl5pPr marL="1821833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3815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, graphic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60482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19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43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able title or a diagram</a:t>
            </a:r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43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9342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3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31" y="1989144"/>
            <a:ext cx="5184775" cy="4464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724534" y="1988841"/>
            <a:ext cx="3168650" cy="446434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9443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Comments or conclusion</a:t>
            </a:r>
            <a:endParaRPr lang="ru-RU" dirty="0" smtClean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62" y="1556795"/>
            <a:ext cx="5616575" cy="4464596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5867436" y="1557338"/>
            <a:ext cx="3025775" cy="44640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32429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28176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179388" y="1628775"/>
            <a:ext cx="8713787" cy="4248497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0530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 hasCustomPrompt="1"/>
          </p:nvPr>
        </p:nvSpPr>
        <p:spPr>
          <a:xfrm>
            <a:off x="250825" y="1989138"/>
            <a:ext cx="8642350" cy="4464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3403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s implementation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 hasCustomPrompt="1"/>
          </p:nvPr>
        </p:nvSpPr>
        <p:spPr>
          <a:xfrm>
            <a:off x="251520" y="1700362"/>
            <a:ext cx="8641655" cy="47529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 hasCustomPrompt="1"/>
          </p:nvPr>
        </p:nvSpPr>
        <p:spPr>
          <a:xfrm>
            <a:off x="1042218" y="1700400"/>
            <a:ext cx="7850262" cy="4752950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91753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chem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 hasCustomPrompt="1"/>
          </p:nvPr>
        </p:nvSpPr>
        <p:spPr>
          <a:xfrm>
            <a:off x="900149" y="2852973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3" y="1124746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66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72" y="1700827"/>
            <a:ext cx="2232248" cy="720079"/>
          </a:xfrm>
          <a:solidFill>
            <a:schemeClr val="bg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marR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marL="0" marR="0" lvl="0" indent="0" algn="ct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26665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gram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Diagram title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628815"/>
            <a:ext cx="3961134" cy="439258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15"/>
            <a:ext cx="4321175" cy="43925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66738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1" y="1196752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932053" y="1700811"/>
            <a:ext cx="3961134" cy="4176564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31" y="1628821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34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32" y="4005072"/>
            <a:ext cx="4321175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50" y="1214290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90248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diagram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60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9018" y="1628821"/>
            <a:ext cx="4249166" cy="1872208"/>
          </a:xfrm>
        </p:spPr>
        <p:txBody>
          <a:bodyPr/>
          <a:lstStyle>
            <a:lvl4pPr marL="1366377" indent="0">
              <a:buNone/>
              <a:defRPr/>
            </a:lvl4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</a:t>
            </a:r>
            <a:r>
              <a:rPr lang="en-US" dirty="0" err="1" smtClean="0"/>
              <a:t>leve</a:t>
            </a:r>
            <a:endParaRPr lang="ru-RU" dirty="0" smtClean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 hasCustomPrompt="1"/>
          </p:nvPr>
        </p:nvSpPr>
        <p:spPr>
          <a:xfrm>
            <a:off x="250825" y="1628821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251521" y="4005072"/>
            <a:ext cx="4248000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Headline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07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4643350" y="4005072"/>
            <a:ext cx="4249167" cy="187220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47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 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912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 hasCustomPrompt="1"/>
          </p:nvPr>
        </p:nvSpPr>
        <p:spPr>
          <a:xfrm>
            <a:off x="3140886" y="1976637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69" y="1275912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 hasCustomPrompt="1"/>
          </p:nvPr>
        </p:nvSpPr>
        <p:spPr>
          <a:xfrm>
            <a:off x="6009100" y="1976637"/>
            <a:ext cx="2881112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97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 of a diagram</a:t>
            </a:r>
            <a:endParaRPr lang="ru-RU" dirty="0" smtClean="0"/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 hasCustomPrompt="1"/>
          </p:nvPr>
        </p:nvSpPr>
        <p:spPr>
          <a:xfrm>
            <a:off x="236530" y="1969504"/>
            <a:ext cx="2880320" cy="3475720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0858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develop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1187661" y="5192415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 baseline="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775855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376329" y="517798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 hasCustomPrompt="1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r>
              <a:rPr lang="en-US" dirty="0" smtClean="0"/>
              <a:t>Diagram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55529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and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67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eadline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25" y="1700213"/>
            <a:ext cx="8066088" cy="4608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9048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OBLOJKA_3_ang_3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6" y="1484784"/>
            <a:ext cx="4896544" cy="2304256"/>
          </a:xfrm>
        </p:spPr>
        <p:txBody>
          <a:bodyPr>
            <a:normAutofit/>
          </a:bodyPr>
          <a:lstStyle>
            <a:lvl1pPr marL="0" algn="l" defTabSz="910917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Title of the presentation </a:t>
            </a:r>
            <a:b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(Arial 26 </a:t>
            </a:r>
            <a:r>
              <a:rPr lang="en-US" sz="2600" b="1" dirty="0" err="1" smtClean="0">
                <a:solidFill>
                  <a:srgbClr val="FFFFFF"/>
                </a:solidFill>
                <a:latin typeface="Arial"/>
                <a:cs typeface="Arial"/>
              </a:rPr>
              <a:t>pt</a:t>
            </a:r>
            <a:r>
              <a:rPr lang="en-US" sz="2600" b="1" dirty="0" smtClean="0">
                <a:solidFill>
                  <a:srgbClr val="FFFFFF"/>
                </a:solidFill>
                <a:latin typeface="Arial"/>
                <a:cs typeface="Arial"/>
              </a:rPr>
              <a:t> Bold, 3 lines maximum)</a:t>
            </a:r>
            <a:endParaRPr lang="ru-RU" dirty="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74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9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4" y="4581129"/>
            <a:ext cx="3288928" cy="864096"/>
          </a:xfrm>
          <a:prstGeom prst="rect">
            <a:avLst/>
          </a:prstGeom>
        </p:spPr>
        <p:txBody>
          <a:bodyPr lIns="91092" tIns="45548" rIns="91092" bIns="45548"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0917"/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Date</a:t>
            </a:r>
            <a:br>
              <a:rPr lang="en-US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Place (Arial </a:t>
            </a:r>
            <a:r>
              <a:rPr lang="ru-RU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 pt, optional)</a:t>
            </a: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0124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 hasCustomPrompt="1"/>
          </p:nvPr>
        </p:nvSpPr>
        <p:spPr>
          <a:xfrm>
            <a:off x="250847" y="1124781"/>
            <a:ext cx="8641655" cy="51839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ab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206663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706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., 2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9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Concluions</a:t>
            </a:r>
            <a:endParaRPr lang="ru-RU" dirty="0" smtClean="0"/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0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7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9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Suggestions</a:t>
            </a:r>
            <a:endParaRPr lang="ru-RU" dirty="0" smtClean="0"/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0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0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0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0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6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207"/>
            <a:ext cx="5040560" cy="360040"/>
          </a:xfr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>
                    <a:lumMod val="50000"/>
                  </a:schemeClr>
                </a:solidFill>
              </a:defRPr>
            </a:lvl1pPr>
            <a:lvl2pPr marL="455456" indent="0">
              <a:buNone/>
              <a:defRPr sz="2000" b="1"/>
            </a:lvl2pPr>
            <a:lvl3pPr marL="910917" indent="0">
              <a:buNone/>
              <a:defRPr sz="1800" b="1"/>
            </a:lvl3pPr>
            <a:lvl4pPr marL="1366377" indent="0">
              <a:buNone/>
              <a:defRPr sz="1600" b="1"/>
            </a:lvl4pPr>
            <a:lvl5pPr marL="1821833" indent="0">
              <a:buNone/>
              <a:defRPr sz="1600" b="1"/>
            </a:lvl5pPr>
            <a:lvl6pPr marL="2277292" indent="0">
              <a:buNone/>
              <a:defRPr sz="1600" b="1"/>
            </a:lvl6pPr>
            <a:lvl7pPr marL="2732753" indent="0">
              <a:buNone/>
              <a:defRPr sz="1600" b="1"/>
            </a:lvl7pPr>
            <a:lvl8pPr marL="3188211" indent="0">
              <a:buNone/>
              <a:defRPr sz="1600" b="1"/>
            </a:lvl8pPr>
            <a:lvl9pPr marL="3643670" indent="0">
              <a:buNone/>
              <a:defRPr sz="1600" b="1"/>
            </a:lvl9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516356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51401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62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5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5" y="442796"/>
            <a:ext cx="1152129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85" y="6165873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75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26" y="3500446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423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0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1606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97502"/>
              </p:ext>
            </p:extLst>
          </p:nvPr>
        </p:nvGraphicFramePr>
        <p:xfrm>
          <a:off x="1606" y="19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9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4" y="1124744"/>
            <a:ext cx="8115328" cy="5184576"/>
          </a:xfrm>
        </p:spPr>
        <p:txBody>
          <a:bodyPr>
            <a:normAutofit/>
          </a:bodyPr>
          <a:lstStyle>
            <a:lvl1pPr>
              <a:defRPr sz="1600">
                <a:latin typeface="+mn-lt"/>
                <a:cs typeface="Arial" pitchFamily="34" charset="0"/>
              </a:defRPr>
            </a:lvl1pPr>
            <a:lvl2pPr marL="853985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2pPr>
            <a:lvl3pPr>
              <a:defRPr sz="1400">
                <a:latin typeface="+mn-lt"/>
                <a:cs typeface="Arial" pitchFamily="34" charset="0"/>
              </a:defRPr>
            </a:lvl3pPr>
            <a:lvl4pPr marL="1764902" indent="-398527">
              <a:buFont typeface="+mj-lt"/>
              <a:buAutoNum type="romanLcPeriod"/>
              <a:defRPr sz="1400">
                <a:latin typeface="+mn-lt"/>
                <a:cs typeface="Arial" pitchFamily="34" charset="0"/>
              </a:defRPr>
            </a:lvl4pPr>
            <a:lvl5pPr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2156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399385"/>
              </p:ext>
            </p:extLst>
          </p:nvPr>
        </p:nvGraphicFramePr>
        <p:xfrm>
          <a:off x="163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1" y="163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68746" y="1"/>
            <a:ext cx="9076874" cy="6792082"/>
            <a:chOff x="67374" y="1"/>
            <a:chExt cx="8895652" cy="6656869"/>
          </a:xfrm>
        </p:grpSpPr>
        <p:pic>
          <p:nvPicPr>
            <p:cNvPr id="14" name="CustomTitle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3950545"/>
              <a:ext cx="8826691" cy="12747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2002840"/>
              <a:ext cx="4363559" cy="187123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55136"/>
              <a:ext cx="4356150" cy="187123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74" y="55136"/>
              <a:ext cx="4356150" cy="187123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2"/>
            <a:stretch/>
          </p:blipFill>
          <p:spPr>
            <a:xfrm rot="16200000" flipV="1">
              <a:off x="3803188" y="1565996"/>
              <a:ext cx="1355061" cy="882668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0506" y="2002840"/>
              <a:ext cx="4356150" cy="1871238"/>
            </a:xfrm>
            <a:prstGeom prst="rect">
              <a:avLst/>
            </a:prstGeom>
          </p:spPr>
        </p:pic>
        <p:sp>
          <p:nvSpPr>
            <p:cNvPr id="20" name="TitleRectangle"/>
            <p:cNvSpPr>
              <a:spLocks/>
            </p:cNvSpPr>
            <p:nvPr/>
          </p:nvSpPr>
          <p:spPr bwMode="white">
            <a:xfrm>
              <a:off x="2085976" y="1"/>
              <a:ext cx="6877050" cy="3874077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32" fontAlgn="base">
                <a:spcBef>
                  <a:spcPct val="0"/>
                </a:spcBef>
                <a:spcAft>
                  <a:spcPct val="0"/>
                </a:spcAft>
              </a:pPr>
              <a:endParaRPr lang="x-none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114802" y="6415249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8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114802" y="6540867"/>
            <a:ext cx="30291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Last Modified 07.11.2016 10:10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114802" y="6666471"/>
            <a:ext cx="284683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Printed 22.09.2016 19:23 Russia TZ 2 Standard Time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314486" y="1463565"/>
            <a:ext cx="6358614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ru-RU"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14486" y="3182433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ru-RU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86" y="3654979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400" dirty="0" smtClean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4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800" smtClean="0">
                <a:solidFill>
                  <a:srgbClr val="FFFFFF"/>
                </a:solidFill>
                <a:latin typeface="Arial"/>
              </a:rPr>
              <a:t>MSW-IIP008-20161103-NK1wm-r</a:t>
            </a:r>
            <a:endParaRPr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314475" y="153724"/>
            <a:ext cx="2221327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rgbClr val="002960"/>
          </a:solidFill>
          <a:ln>
            <a:noFill/>
          </a:ln>
          <a:extLst/>
        </p:spPr>
        <p:txBody>
          <a:bodyPr vert="horz" wrap="square" lIns="93196" tIns="46599" rIns="93196" bIns="46599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ru-RU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432"/>
            <a:endParaRPr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2314486" y="6289648"/>
            <a:ext cx="3616660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0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FFFFFF"/>
                </a:solidFill>
              </a:rPr>
              <a:t>КОНФИДЕНЦИАЛЬНАЯ ИНФОРМАЦИЯ, СОБСТВЕННОСТЬ ООО 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</a:t>
            </a:r>
            <a:endParaRPr lang="ru-RU" sz="800" dirty="0">
              <a:solidFill>
                <a:srgbClr val="FFFFFF"/>
              </a:solidFill>
            </a:endParaRPr>
          </a:p>
          <a:p>
            <a:pPr defTabSz="820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FFFFFF"/>
                </a:solidFill>
              </a:rPr>
              <a:t>Любое использование этого документа без специального разрешения ООО </a:t>
            </a:r>
            <a:r>
              <a:rPr lang="ru-RU" sz="800" dirty="0" smtClean="0">
                <a:solidFill>
                  <a:srgbClr val="FFFFFF"/>
                </a:solidFill>
              </a:rPr>
              <a:t>"Мак-</a:t>
            </a:r>
            <a:r>
              <a:rPr lang="ru-RU" sz="800" dirty="0" err="1" smtClean="0">
                <a:solidFill>
                  <a:srgbClr val="FFFFFF"/>
                </a:solidFill>
              </a:rPr>
              <a:t>Кинзи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>
                <a:solidFill>
                  <a:srgbClr val="FFFFFF"/>
                </a:solidFill>
              </a:rPr>
              <a:t>и Компания </a:t>
            </a:r>
            <a:r>
              <a:rPr lang="ru-RU" sz="800" dirty="0" err="1" smtClean="0">
                <a:solidFill>
                  <a:srgbClr val="FFFFFF"/>
                </a:solidFill>
              </a:rPr>
              <a:t>СиАйЭс</a:t>
            </a:r>
            <a:r>
              <a:rPr lang="ru-RU" sz="800" dirty="0" smtClean="0">
                <a:solidFill>
                  <a:srgbClr val="FFFFFF"/>
                </a:solidFill>
              </a:rPr>
              <a:t>" </a:t>
            </a:r>
            <a:r>
              <a:rPr lang="ru-RU" sz="800" dirty="0">
                <a:solidFill>
                  <a:srgbClr val="FFFFFF"/>
                </a:solidFill>
              </a:rPr>
              <a:t>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1838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64047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808080"/>
                </a:solidFill>
              </a:rPr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15" y="664047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1087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477"/>
            <a:ext cx="127581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00" smtClean="0">
                <a:solidFill>
                  <a:srgbClr val="967D57"/>
                </a:solidFill>
              </a:rPr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800" dirty="0">
              <a:solidFill>
                <a:srgbClr val="967D57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602615" y="6640477"/>
            <a:ext cx="103373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967D57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9802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3745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16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6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9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/>
          <a:lstStyle/>
          <a:p>
            <a:fld id="{FE52271D-866F-42B7-8538-72E88F58923C}" type="datetimeFigureOut">
              <a:rPr lang="ru-RU" smtClean="0">
                <a:solidFill>
                  <a:srgbClr val="073E87"/>
                </a:solidFill>
              </a:rPr>
              <a:pPr/>
              <a:t>07.05.2018</a:t>
            </a:fld>
            <a:endParaRPr lang="ru-RU">
              <a:solidFill>
                <a:srgbClr val="073E8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54" y="6250164"/>
            <a:ext cx="3786691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73E8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‹#›</a:t>
            </a:fld>
            <a:endParaRPr lang="ru-RU">
              <a:solidFill>
                <a:srgbClr val="073E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72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tags" Target="../tags/tag16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11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tags" Target="../tags/tag6.xml"/><Relationship Id="rId110" Type="http://schemas.openxmlformats.org/officeDocument/2006/relationships/tags" Target="../tags/tag14.xml"/><Relationship Id="rId11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tags" Target="../tags/tag4.xml"/><Relationship Id="rId105" Type="http://schemas.openxmlformats.org/officeDocument/2006/relationships/tags" Target="../tags/tag9.xml"/><Relationship Id="rId113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tags" Target="../tags/tag7.xml"/><Relationship Id="rId108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vmlDrawing" Target="../drawings/vmlDrawing1.vml"/><Relationship Id="rId111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ags" Target="../tags/tag10.xml"/><Relationship Id="rId114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tags" Target="../tags/tag3.xml"/><Relationship Id="rId101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tags" Target="../tags/tag13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tags" Target="../tags/tag1.xml"/><Relationship Id="rId104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oleObject" Target="../embeddings/oleObject7.bin"/><Relationship Id="rId3" Type="http://schemas.openxmlformats.org/officeDocument/2006/relationships/slideLayout" Target="../slideLayouts/slideLayout97.xml"/><Relationship Id="rId21" Type="http://schemas.openxmlformats.org/officeDocument/2006/relationships/tags" Target="../tags/tag37.xml"/><Relationship Id="rId7" Type="http://schemas.openxmlformats.org/officeDocument/2006/relationships/theme" Target="../theme/theme2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2" Type="http://schemas.openxmlformats.org/officeDocument/2006/relationships/slideLayout" Target="../slideLayouts/slideLayout96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5" Type="http://schemas.openxmlformats.org/officeDocument/2006/relationships/slideLayout" Target="../slideLayouts/slideLayout99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98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slideLayout" Target="../slideLayouts/slideLayout103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2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101.xml"/><Relationship Id="rId6" Type="http://schemas.openxmlformats.org/officeDocument/2006/relationships/vmlDrawing" Target="../drawings/vmlDrawing9.vml"/><Relationship Id="rId11" Type="http://schemas.openxmlformats.org/officeDocument/2006/relationships/tags" Target="../tags/tag49.xml"/><Relationship Id="rId24" Type="http://schemas.openxmlformats.org/officeDocument/2006/relationships/oleObject" Target="../embeddings/oleObject9.bin"/><Relationship Id="rId5" Type="http://schemas.openxmlformats.org/officeDocument/2006/relationships/theme" Target="../theme/theme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104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07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6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05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69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08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3" Type="http://schemas.openxmlformats.org/officeDocument/2006/relationships/slideLayout" Target="../slideLayouts/slideLayout11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1" Type="http://schemas.openxmlformats.org/officeDocument/2006/relationships/slideLayout" Target="../slideLayouts/slideLayout109.xml"/><Relationship Id="rId6" Type="http://schemas.openxmlformats.org/officeDocument/2006/relationships/vmlDrawing" Target="../drawings/vmlDrawing13.vml"/><Relationship Id="rId11" Type="http://schemas.openxmlformats.org/officeDocument/2006/relationships/tags" Target="../tags/tag89.xml"/><Relationship Id="rId24" Type="http://schemas.openxmlformats.org/officeDocument/2006/relationships/oleObject" Target="../embeddings/oleObject13.bin"/><Relationship Id="rId5" Type="http://schemas.openxmlformats.org/officeDocument/2006/relationships/theme" Target="../theme/theme5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4" Type="http://schemas.openxmlformats.org/officeDocument/2006/relationships/slideLayout" Target="../slideLayouts/slideLayout11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3" Type="http://schemas.openxmlformats.org/officeDocument/2006/relationships/slideLayout" Target="../slideLayouts/slideLayout115.xml"/><Relationship Id="rId21" Type="http://schemas.openxmlformats.org/officeDocument/2006/relationships/tags" Target="../tags/tag119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4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1" Type="http://schemas.openxmlformats.org/officeDocument/2006/relationships/slideLayout" Target="../slideLayouts/slideLayout113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109.xml"/><Relationship Id="rId24" Type="http://schemas.openxmlformats.org/officeDocument/2006/relationships/oleObject" Target="../embeddings/oleObject15.bin"/><Relationship Id="rId5" Type="http://schemas.openxmlformats.org/officeDocument/2006/relationships/theme" Target="../theme/theme6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4" Type="http://schemas.openxmlformats.org/officeDocument/2006/relationships/slideLayout" Target="../slideLayouts/slideLayout116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9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37.xml"/><Relationship Id="rId34" Type="http://schemas.openxmlformats.org/officeDocument/2006/relationships/slideLayout" Target="../slideLayouts/slideLayout150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46" Type="http://schemas.openxmlformats.org/officeDocument/2006/relationships/slideLayout" Target="../slideLayouts/slideLayout162.xml"/><Relationship Id="rId59" Type="http://schemas.openxmlformats.org/officeDocument/2006/relationships/theme" Target="../theme/theme7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41" Type="http://schemas.openxmlformats.org/officeDocument/2006/relationships/slideLayout" Target="../slideLayouts/slideLayout157.xml"/><Relationship Id="rId54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slideLayout" Target="../slideLayouts/slideLayout152.xml"/><Relationship Id="rId49" Type="http://schemas.openxmlformats.org/officeDocument/2006/relationships/slideLayout" Target="../slideLayouts/slideLayout165.xml"/><Relationship Id="rId5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4" Type="http://schemas.openxmlformats.org/officeDocument/2006/relationships/slideLayout" Target="../slideLayouts/slideLayout160.xml"/><Relationship Id="rId52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56" Type="http://schemas.openxmlformats.org/officeDocument/2006/relationships/slideLayout" Target="../slideLayouts/slideLayout172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7"/>
            </p:custDataLst>
            <p:extLst>
              <p:ext uri="{D42A27DB-BD31-4B8C-83A1-F6EECF244321}">
                <p14:modId xmlns:p14="http://schemas.microsoft.com/office/powerpoint/2010/main" val="177413050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9" name="think-cell Slide" r:id="rId114" imgW="270" imgH="270" progId="TCLayout.ActiveDocument.1">
                  <p:embed/>
                </p:oleObj>
              </mc:Choice>
              <mc:Fallback>
                <p:oleObj name="think-cell Slide" r:id="rId1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432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16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14" y="4197996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9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99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316" indent="-621316" defTabSz="912556" fontAlgn="base">
                <a:spcBef>
                  <a:spcPct val="0"/>
                </a:spcBef>
                <a:spcAft>
                  <a:spcPct val="0"/>
                </a:spcAft>
                <a:tabLst>
                  <a:tab pos="624551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60" y="1991016"/>
            <a:ext cx="4389768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65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35" y="291565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56" y="6455861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96" tIns="46599" rIns="93196" bIns="46599" rtlCol="0" anchor="ctr"/>
          <a:lstStyle/>
          <a:p>
            <a:pPr algn="ctr" defTabSz="913432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86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70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13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9270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76" r:id="rId5"/>
    <p:sldLayoutId id="2147483877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0" r:id="rId25"/>
    <p:sldLayoutId id="2147483831" r:id="rId26"/>
    <p:sldLayoutId id="2147483832" r:id="rId27"/>
    <p:sldLayoutId id="2147483833" r:id="rId28"/>
    <p:sldLayoutId id="2147483834" r:id="rId29"/>
    <p:sldLayoutId id="2147483835" r:id="rId30"/>
    <p:sldLayoutId id="2147483836" r:id="rId31"/>
    <p:sldLayoutId id="2147483837" r:id="rId32"/>
    <p:sldLayoutId id="2147483838" r:id="rId33"/>
    <p:sldLayoutId id="2147483839" r:id="rId34"/>
    <p:sldLayoutId id="2147483840" r:id="rId35"/>
    <p:sldLayoutId id="2147483841" r:id="rId36"/>
    <p:sldLayoutId id="2147483842" r:id="rId37"/>
    <p:sldLayoutId id="2147483843" r:id="rId38"/>
    <p:sldLayoutId id="2147483844" r:id="rId39"/>
    <p:sldLayoutId id="2147483845" r:id="rId40"/>
    <p:sldLayoutId id="2147483846" r:id="rId41"/>
    <p:sldLayoutId id="2147483847" r:id="rId42"/>
    <p:sldLayoutId id="2147483848" r:id="rId43"/>
    <p:sldLayoutId id="2147483849" r:id="rId44"/>
    <p:sldLayoutId id="2147483850" r:id="rId45"/>
    <p:sldLayoutId id="2147483851" r:id="rId46"/>
    <p:sldLayoutId id="2147483852" r:id="rId47"/>
    <p:sldLayoutId id="2147483853" r:id="rId48"/>
    <p:sldLayoutId id="2147483854" r:id="rId49"/>
    <p:sldLayoutId id="2147483855" r:id="rId50"/>
    <p:sldLayoutId id="2147483700" r:id="rId51"/>
    <p:sldLayoutId id="2147483701" r:id="rId52"/>
    <p:sldLayoutId id="2147483702" r:id="rId53"/>
    <p:sldLayoutId id="2147483703" r:id="rId54"/>
    <p:sldLayoutId id="2147483704" r:id="rId55"/>
    <p:sldLayoutId id="2147483705" r:id="rId56"/>
    <p:sldLayoutId id="2147483706" r:id="rId57"/>
    <p:sldLayoutId id="2147483707" r:id="rId58"/>
    <p:sldLayoutId id="2147483708" r:id="rId59"/>
    <p:sldLayoutId id="2147483709" r:id="rId60"/>
    <p:sldLayoutId id="2147483710" r:id="rId61"/>
    <p:sldLayoutId id="2147483711" r:id="rId62"/>
    <p:sldLayoutId id="2147483712" r:id="rId63"/>
    <p:sldLayoutId id="2147483713" r:id="rId64"/>
    <p:sldLayoutId id="2147483714" r:id="rId65"/>
    <p:sldLayoutId id="2147483715" r:id="rId66"/>
    <p:sldLayoutId id="2147483716" r:id="rId67"/>
    <p:sldLayoutId id="2147483717" r:id="rId68"/>
    <p:sldLayoutId id="2147483718" r:id="rId69"/>
    <p:sldLayoutId id="2147483719" r:id="rId70"/>
    <p:sldLayoutId id="2147483720" r:id="rId71"/>
    <p:sldLayoutId id="2147483721" r:id="rId72"/>
    <p:sldLayoutId id="2147483722" r:id="rId73"/>
    <p:sldLayoutId id="2147483723" r:id="rId74"/>
    <p:sldLayoutId id="2147483724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730" r:id="rId81"/>
    <p:sldLayoutId id="2147483731" r:id="rId82"/>
    <p:sldLayoutId id="2147483732" r:id="rId83"/>
    <p:sldLayoutId id="2147483733" r:id="rId84"/>
    <p:sldLayoutId id="2147483734" r:id="rId85"/>
    <p:sldLayoutId id="2147483735" r:id="rId86"/>
    <p:sldLayoutId id="2147483736" r:id="rId87"/>
    <p:sldLayoutId id="2147483737" r:id="rId88"/>
    <p:sldLayoutId id="2147483738" r:id="rId89"/>
    <p:sldLayoutId id="2147483739" r:id="rId90"/>
    <p:sldLayoutId id="2147483740" r:id="rId91"/>
    <p:sldLayoutId id="2147483741" r:id="rId92"/>
    <p:sldLayoutId id="2147483742" r:id="rId93"/>
    <p:sldLayoutId id="2147483743" r:id="rId9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56" rtl="0" eaLnBrk="1" fontAlgn="base" hangingPunct="1">
        <a:spcBef>
          <a:spcPct val="0"/>
        </a:spcBef>
        <a:spcAft>
          <a:spcPct val="0"/>
        </a:spcAft>
        <a:tabLst>
          <a:tab pos="275062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5981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1977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7963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3946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98" indent="-195781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5981" indent="-266972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171" indent="-158566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4028015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432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16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14" y="4197996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432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9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99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316" indent="-621316" defTabSz="912556" fontAlgn="base">
                <a:spcBef>
                  <a:spcPct val="0"/>
                </a:spcBef>
                <a:spcAft>
                  <a:spcPct val="0"/>
                </a:spcAft>
                <a:tabLst>
                  <a:tab pos="624551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60" y="1991016"/>
            <a:ext cx="4389768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65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35" y="291565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56" y="6455861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96" tIns="46599" rIns="93196" bIns="46599" rtlCol="0" anchor="ctr"/>
          <a:lstStyle/>
          <a:p>
            <a:pPr algn="ctr" defTabSz="913432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6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5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86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70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13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43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55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6842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78" r:id="rId5"/>
    <p:sldLayoutId id="214748387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56" rtl="0" eaLnBrk="1" fontAlgn="base" hangingPunct="1">
        <a:spcBef>
          <a:spcPct val="0"/>
        </a:spcBef>
        <a:spcAft>
          <a:spcPct val="0"/>
        </a:spcAft>
        <a:tabLst>
          <a:tab pos="275062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5981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1977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7963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3946" algn="l" defTabSz="91255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98" indent="-195781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5981" indent="-266972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171" indent="-158566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686969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09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07" y="4197989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2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2" y="56613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92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778" indent="-621778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625015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9" y="1991016"/>
            <a:ext cx="4389768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8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28" y="291558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9" y="6455861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6" tIns="46633" rIns="93266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79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63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8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311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6645680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06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04" y="4197986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89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991016"/>
            <a:ext cx="4389768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25" y="291555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76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60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5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575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5225871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06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04" y="4197986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89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991016"/>
            <a:ext cx="4389768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25" y="291555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76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60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5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073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515918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28421" y="1980009"/>
            <a:ext cx="2088614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07.11.2016 10:10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38007" y="4197989"/>
            <a:ext cx="1869449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ru-RU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ru-RU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ru-RU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22.09.2016 19:23 Russia TZ 2 Standard Time</a:t>
            </a:r>
            <a:endParaRPr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2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ru-RU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2" y="56613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ru-RU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92" y="6434030"/>
            <a:ext cx="8794113" cy="33204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ru-RU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778" indent="-621778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625015" algn="l"/>
                </a:tabLs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9" y="1991016"/>
            <a:ext cx="4389768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8" y="128330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432628" y="291558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00" dirty="0" smtClean="0">
                  <a:solidFill>
                    <a:srgbClr val="808080"/>
                  </a:solidFill>
                </a:rPr>
                <a:t>STICKER</a:t>
              </a:r>
              <a:endParaRPr lang="ru-RU" sz="800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9" y="6455861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6" tIns="46633" rIns="93266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2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808080"/>
                </a:solidFill>
              </a:rPr>
              <a:t>MSW-IIP008-20161103-NK1wm-r</a:t>
            </a:r>
            <a:endParaRPr lang="ru-RU" sz="800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8076338" y="285079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762263" y="285075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8008308" y="2559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235"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lang="ru-RU" sz="1200" dirty="0" smtClean="0">
                  <a:solidFill>
                    <a:srgbClr val="000000"/>
                  </a:solidFill>
                </a:rPr>
                <a:t>Legend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644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lang="ru-RU"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lang="ru-RU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4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lang="ru-RU" sz="14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lang="ru-RU" sz="14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lang="ru-RU" sz="14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lang="ru-RU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6CCB2-A8B9-476B-84C4-43B50D0B35F6}" type="datetimeFigureOut">
              <a:rPr lang="ru-RU" smtClean="0"/>
              <a:t>07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FD92FA-6B39-4727-BD99-D026A3BA4DF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8194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3756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78" r:id="rId35"/>
    <p:sldLayoutId id="2147483779" r:id="rId36"/>
    <p:sldLayoutId id="2147483780" r:id="rId37"/>
    <p:sldLayoutId id="2147483781" r:id="rId38"/>
    <p:sldLayoutId id="2147483782" r:id="rId39"/>
    <p:sldLayoutId id="2147483783" r:id="rId40"/>
    <p:sldLayoutId id="2147483784" r:id="rId41"/>
    <p:sldLayoutId id="2147483785" r:id="rId42"/>
    <p:sldLayoutId id="2147483786" r:id="rId43"/>
    <p:sldLayoutId id="2147483787" r:id="rId44"/>
    <p:sldLayoutId id="2147483788" r:id="rId45"/>
    <p:sldLayoutId id="2147483789" r:id="rId46"/>
    <p:sldLayoutId id="2147483790" r:id="rId47"/>
    <p:sldLayoutId id="2147483791" r:id="rId48"/>
    <p:sldLayoutId id="2147483792" r:id="rId49"/>
    <p:sldLayoutId id="2147483793" r:id="rId50"/>
    <p:sldLayoutId id="2147483794" r:id="rId51"/>
    <p:sldLayoutId id="2147483795" r:id="rId52"/>
    <p:sldLayoutId id="2147483796" r:id="rId53"/>
    <p:sldLayoutId id="2147483797" r:id="rId54"/>
    <p:sldLayoutId id="2147483798" r:id="rId55"/>
    <p:sldLayoutId id="2147483799" r:id="rId56"/>
    <p:sldLayoutId id="2147483977" r:id="rId57"/>
    <p:sldLayoutId id="2147484019" r:id="rId5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image" Target="../media/image27.jpeg"/><Relationship Id="rId2" Type="http://schemas.openxmlformats.org/officeDocument/2006/relationships/tags" Target="../tags/tag12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3.xml"/><Relationship Id="rId11" Type="http://schemas.openxmlformats.org/officeDocument/2006/relationships/image" Target="../media/image26.emf"/><Relationship Id="rId5" Type="http://schemas.openxmlformats.org/officeDocument/2006/relationships/tags" Target="../tags/tag13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31.xml"/><Relationship Id="rId9" Type="http://schemas.openxmlformats.org/officeDocument/2006/relationships/slideLayout" Target="../slideLayouts/slideLayout10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slideLayout" Target="../slideLayouts/slideLayout128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image" Target="../media/image29.png"/><Relationship Id="rId2" Type="http://schemas.openxmlformats.org/officeDocument/2006/relationships/tags" Target="../tags/tag136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image" Target="../media/image26.emf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oleObject" Target="../embeddings/oleObject20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7984" y="548680"/>
            <a:ext cx="4716016" cy="5832648"/>
          </a:xfrm>
        </p:spPr>
        <p:txBody>
          <a:bodyPr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>Меры по улучшению</a:t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err="1" smtClean="0">
                <a:solidFill>
                  <a:schemeClr val="tx1"/>
                </a:solidFill>
                <a:latin typeface="Times New Roman"/>
                <a:ea typeface="Calibri"/>
              </a:rPr>
              <a:t>лесообеспечения</a:t>
            </a: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> эффективно работающих компаний. </a:t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dirty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dirty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latin typeface="Times New Roman"/>
                <a:ea typeface="Calibri"/>
              </a:rPr>
            </a:b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Директор по взаимодействию с </a:t>
            </a:r>
            <a:b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государственными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ми власти,</a:t>
            </a:r>
            <a:b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.э.н. </a:t>
            </a:r>
            <a:r>
              <a:rPr lang="ru-RU" sz="14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нягина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Борисовна</a:t>
            </a:r>
            <a:b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еренция, 2018г.</a:t>
            </a:r>
            <a: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4578" name="Picture 2" descr="http://www.domastroim.ru/wp-content/uploads/2015/11/a34951d3-0ae5-4650-9663-ec996f347cf0_B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58" y="332656"/>
            <a:ext cx="3633525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https://ecoportal.info/wp-content/uploads/2016/09/zagotovka-lesa_resul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7" y="2492896"/>
            <a:ext cx="3744417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3568" y="4293096"/>
            <a:ext cx="3744416" cy="2268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951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5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0" name="think-cell Slide" r:id="rId10" imgW="524" imgH="526" progId="TCLayout.ActiveDocument.1">
                  <p:embed/>
                </p:oleObj>
              </mc:Choice>
              <mc:Fallback>
                <p:oleObj name="think-cell Slide" r:id="rId10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25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665" fontAlgn="base">
              <a:spcBef>
                <a:spcPct val="0"/>
              </a:spcBef>
              <a:spcAft>
                <a:spcPct val="0"/>
              </a:spcAft>
            </a:pPr>
            <a:endParaRPr lang="ru-RU" sz="1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6278564" y="1484678"/>
            <a:ext cx="2394062" cy="2573095"/>
            <a:chOff x="6296086" y="1502743"/>
            <a:chExt cx="2346264" cy="2521871"/>
          </a:xfrm>
        </p:grpSpPr>
        <p:grpSp>
          <p:nvGrpSpPr>
            <p:cNvPr id="55" name="Group 54"/>
            <p:cNvGrpSpPr/>
            <p:nvPr/>
          </p:nvGrpSpPr>
          <p:grpSpPr>
            <a:xfrm>
              <a:off x="6306088" y="1847221"/>
              <a:ext cx="1934932" cy="369332"/>
              <a:chOff x="6207436" y="1595776"/>
              <a:chExt cx="1934932" cy="369332"/>
            </a:xfrm>
          </p:grpSpPr>
          <p:sp>
            <p:nvSpPr>
              <p:cNvPr id="78" name="TextBox 11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6207436" y="1629512"/>
                <a:ext cx="309158" cy="301860"/>
              </a:xfrm>
              <a:prstGeom prst="ellipse">
                <a:avLst/>
              </a:prstGeom>
              <a:solidFill>
                <a:schemeClr val="bg1">
                  <a:lumMod val="50000"/>
                  <a:alpha val="39000"/>
                </a:schemeClr>
              </a:solidFill>
              <a:ln w="31750"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lIns="3810" tIns="0" rIns="3810" bIns="0" rtlCol="0" anchor="ctr" anchorCtr="1">
                <a:noAutofit/>
              </a:bodyPr>
              <a:lstStyle>
                <a:defPPr>
                  <a:defRPr lang="en-US"/>
                </a:defPPr>
                <a:lvl1pPr marL="0" lvl="0" indent="0" algn="ctr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11"/>
              <p:cNvSpPr txBox="1"/>
              <p:nvPr/>
            </p:nvSpPr>
            <p:spPr>
              <a:xfrm>
                <a:off x="6501334" y="1595776"/>
                <a:ext cx="1641034" cy="369332"/>
              </a:xfrm>
              <a:prstGeom prst="rect">
                <a:avLst/>
              </a:prstGeom>
              <a:noFill/>
              <a:ln w="31750">
                <a:noFill/>
              </a:ln>
            </p:spPr>
            <p:txBody>
              <a:bodyPr vert="horz" lIns="3810" tIns="0" rIns="3810" bIns="0" rtlCol="0" anchor="ctr" anchorCtr="1">
                <a:noAutofit/>
              </a:bodyPr>
              <a:lstStyle>
                <a:defPPr>
                  <a:defRPr lang="en-US"/>
                </a:defPPr>
                <a:lvl1pPr marL="0" lvl="0" indent="0" algn="ctr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Радиус 300 км, вокруг существующих ЦБК</a:t>
                </a: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6343318" y="2272553"/>
              <a:ext cx="2065844" cy="307777"/>
              <a:chOff x="6244666" y="2730844"/>
              <a:chExt cx="2065844" cy="307777"/>
            </a:xfrm>
          </p:grpSpPr>
          <p:sp>
            <p:nvSpPr>
              <p:cNvPr id="76" name="TextBox 31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6244666" y="2800824"/>
                <a:ext cx="246999" cy="22937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endParaRPr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Rectangle 11"/>
              <p:cNvSpPr txBox="1"/>
              <p:nvPr/>
            </p:nvSpPr>
            <p:spPr>
              <a:xfrm>
                <a:off x="6669476" y="2730844"/>
                <a:ext cx="1641034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r>
                  <a:rPr sz="1000" dirty="0" err="1">
                    <a:solidFill>
                      <a:srgbClr val="000000"/>
                    </a:solidFill>
                  </a:rPr>
                  <a:t>Малонарушенные</a:t>
                </a:r>
                <a:r>
                  <a:rPr sz="1000" dirty="0">
                    <a:solidFill>
                      <a:srgbClr val="000000"/>
                    </a:solidFill>
                  </a:rPr>
                  <a:t> лесные экосистемы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6337168" y="2735985"/>
              <a:ext cx="2305182" cy="307777"/>
              <a:chOff x="6244666" y="2768944"/>
              <a:chExt cx="2305182" cy="307777"/>
            </a:xfrm>
          </p:grpSpPr>
          <p:sp>
            <p:nvSpPr>
              <p:cNvPr id="74" name="TextBox 31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6244666" y="2800824"/>
                <a:ext cx="246999" cy="22937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endParaRPr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11"/>
              <p:cNvSpPr txBox="1"/>
              <p:nvPr/>
            </p:nvSpPr>
            <p:spPr>
              <a:xfrm>
                <a:off x="6679773" y="2768944"/>
                <a:ext cx="1870075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r>
                  <a:rPr sz="1000" dirty="0">
                    <a:solidFill>
                      <a:srgbClr val="000000"/>
                    </a:solidFill>
                  </a:rPr>
                  <a:t>Лесные пожары, примыкающие к инфраструктуре</a:t>
                </a:r>
              </a:p>
            </p:txBody>
          </p:sp>
        </p:grpSp>
        <p:sp>
          <p:nvSpPr>
            <p:cNvPr id="58" name="Rectangle 11"/>
            <p:cNvSpPr txBox="1"/>
            <p:nvPr/>
          </p:nvSpPr>
          <p:spPr>
            <a:xfrm>
              <a:off x="6296086" y="1568455"/>
              <a:ext cx="1641034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ru-RU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 lang="ru-RU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 lang="ru-RU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 lang="ru-RU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 lang="ru-RU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ru-RU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ru-RU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ru-RU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ru-RU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967D57"/>
                </a:buClr>
              </a:pPr>
              <a:r>
                <a:rPr sz="1000" dirty="0">
                  <a:solidFill>
                    <a:srgbClr val="000000"/>
                  </a:solidFill>
                </a:rPr>
                <a:t>Масштаб:               300 км</a:t>
              </a: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6928354" y="1502743"/>
              <a:ext cx="1266468" cy="53246"/>
              <a:chOff x="6985504" y="1436068"/>
              <a:chExt cx="1266468" cy="53246"/>
            </a:xfrm>
          </p:grpSpPr>
          <p:grpSp>
            <p:nvGrpSpPr>
              <p:cNvPr id="67" name="Group 66"/>
              <p:cNvGrpSpPr/>
              <p:nvPr/>
            </p:nvGrpSpPr>
            <p:grpSpPr>
              <a:xfrm>
                <a:off x="6985504" y="1436068"/>
                <a:ext cx="1266468" cy="53246"/>
                <a:chOff x="6270566" y="687029"/>
                <a:chExt cx="580880" cy="23813"/>
              </a:xfrm>
            </p:grpSpPr>
            <p:cxnSp>
              <p:nvCxnSpPr>
                <p:cNvPr id="71" name="Straight Connector 70"/>
                <p:cNvCxnSpPr>
                  <a:cxnSpLocks/>
                </p:cNvCxnSpPr>
                <p:nvPr/>
              </p:nvCxnSpPr>
              <p:spPr>
                <a:xfrm>
                  <a:off x="6270566" y="710842"/>
                  <a:ext cx="580880" cy="0"/>
                </a:xfrm>
                <a:prstGeom prst="line">
                  <a:avLst/>
                </a:prstGeom>
                <a:ln w="1270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/>
                <p:cNvCxnSpPr/>
                <p:nvPr/>
              </p:nvCxnSpPr>
              <p:spPr>
                <a:xfrm>
                  <a:off x="6281588" y="687029"/>
                  <a:ext cx="0" cy="23813"/>
                </a:xfrm>
                <a:prstGeom prst="line">
                  <a:avLst/>
                </a:prstGeom>
                <a:ln w="1270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/>
                <p:cNvCxnSpPr/>
                <p:nvPr/>
              </p:nvCxnSpPr>
              <p:spPr>
                <a:xfrm>
                  <a:off x="6464100" y="687029"/>
                  <a:ext cx="0" cy="23813"/>
                </a:xfrm>
                <a:prstGeom prst="line">
                  <a:avLst/>
                </a:prstGeom>
                <a:ln w="1270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9" name="Straight Connector 68"/>
              <p:cNvCxnSpPr/>
              <p:nvPr/>
            </p:nvCxnSpPr>
            <p:spPr>
              <a:xfrm>
                <a:off x="7826557" y="1436068"/>
                <a:ext cx="0" cy="53246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8230730" y="1436068"/>
                <a:ext cx="0" cy="53246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/>
          </p:nvGrpSpPr>
          <p:grpSpPr>
            <a:xfrm>
              <a:off x="6343318" y="3173974"/>
              <a:ext cx="2075369" cy="307777"/>
              <a:chOff x="6244666" y="2768944"/>
              <a:chExt cx="2075369" cy="307777"/>
            </a:xfrm>
          </p:grpSpPr>
          <p:sp>
            <p:nvSpPr>
              <p:cNvPr id="65" name="TextBox 31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6244666" y="2800824"/>
                <a:ext cx="246999" cy="229372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endParaRPr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Rectangle 11"/>
              <p:cNvSpPr txBox="1"/>
              <p:nvPr/>
            </p:nvSpPr>
            <p:spPr>
              <a:xfrm>
                <a:off x="6679001" y="2768944"/>
                <a:ext cx="1641034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r>
                  <a:rPr sz="1000" dirty="0">
                    <a:solidFill>
                      <a:srgbClr val="000000"/>
                    </a:solidFill>
                  </a:rPr>
                  <a:t>Рубки </a:t>
                </a:r>
                <a:r>
                  <a:rPr sz="1000" dirty="0" smtClean="0">
                    <a:solidFill>
                      <a:srgbClr val="000000"/>
                    </a:solidFill>
                  </a:rPr>
                  <a:t>леса </a:t>
                </a:r>
                <a:r>
                  <a:rPr sz="1000" dirty="0">
                    <a:solidFill>
                      <a:srgbClr val="000000"/>
                    </a:solidFill>
                  </a:rPr>
                  <a:t>и создание лесной инфраструктуры </a:t>
                </a: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6344746" y="3562949"/>
              <a:ext cx="2075369" cy="461665"/>
              <a:chOff x="6244666" y="2692744"/>
              <a:chExt cx="2075369" cy="461665"/>
            </a:xfrm>
          </p:grpSpPr>
          <p:sp>
            <p:nvSpPr>
              <p:cNvPr id="62" name="TextBox 31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6244666" y="2800824"/>
                <a:ext cx="246999" cy="229372"/>
              </a:xfrm>
              <a:prstGeom prst="rect">
                <a:avLst/>
              </a:prstGeom>
              <a:solidFill>
                <a:srgbClr val="CC00CC"/>
              </a:solidFill>
              <a:ln>
                <a:noFill/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endParaRPr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 txBox="1"/>
              <p:nvPr/>
            </p:nvSpPr>
            <p:spPr>
              <a:xfrm>
                <a:off x="6679001" y="2692744"/>
                <a:ext cx="1641034" cy="46166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ru-RU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accent4"/>
                  </a:buClr>
                  <a:buSzPct val="125000"/>
                  <a:buFont typeface="Arial" charset="0"/>
                  <a:buChar char="▪"/>
                  <a:defRPr lang="ru-RU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–"/>
                  <a:defRPr lang="ru-RU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accent4"/>
                  </a:buClr>
                  <a:buSzPct val="120000"/>
                  <a:buFont typeface="Arial" charset="0"/>
                  <a:buChar char="▫"/>
                  <a:defRPr lang="ru-RU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accent4"/>
                  </a:buClr>
                  <a:buSzPct val="89000"/>
                  <a:buFont typeface="Arial" charset="0"/>
                  <a:buChar char="-"/>
                  <a:defRPr lang="ru-RU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ru-RU"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967D57"/>
                  </a:buClr>
                </a:pPr>
                <a:r>
                  <a:rPr sz="1000" dirty="0">
                    <a:solidFill>
                      <a:srgbClr val="000000"/>
                    </a:solidFill>
                  </a:rPr>
                  <a:t>Разведка, добыча и транспортировка полезных ископаемых</a:t>
                </a:r>
              </a:p>
            </p:txBody>
          </p:sp>
        </p:grpSp>
      </p:grpSp>
      <p:sp>
        <p:nvSpPr>
          <p:cNvPr id="80" name="5. Source"/>
          <p:cNvSpPr>
            <a:spLocks noChangeArrowheads="1"/>
          </p:cNvSpPr>
          <p:nvPr/>
        </p:nvSpPr>
        <p:spPr bwMode="gray">
          <a:xfrm>
            <a:off x="121489" y="6648657"/>
            <a:ext cx="734667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712" indent="-621712" defTabSz="913138" fontAlgn="base">
              <a:spcBef>
                <a:spcPct val="0"/>
              </a:spcBef>
              <a:spcAft>
                <a:spcPct val="0"/>
              </a:spcAft>
              <a:tabLst>
                <a:tab pos="624949" algn="l"/>
              </a:tabLst>
            </a:pPr>
            <a:r>
              <a:rPr lang="ru-RU" sz="800" dirty="0">
                <a:solidFill>
                  <a:srgbClr val="808080"/>
                </a:solidFill>
              </a:rPr>
              <a:t>ИСТОЧНИК:</a:t>
            </a:r>
            <a:r>
              <a:rPr lang="en-US" sz="800" dirty="0">
                <a:solidFill>
                  <a:srgbClr val="808080"/>
                </a:solidFill>
              </a:rPr>
              <a:t> </a:t>
            </a:r>
            <a:r>
              <a:rPr lang="ru-RU" sz="800" dirty="0" err="1">
                <a:solidFill>
                  <a:srgbClr val="808080"/>
                </a:solidFill>
              </a:rPr>
              <a:t>Малонарушенные</a:t>
            </a:r>
            <a:r>
              <a:rPr lang="ru-RU" sz="800" dirty="0">
                <a:solidFill>
                  <a:srgbClr val="808080"/>
                </a:solidFill>
              </a:rPr>
              <a:t> лесные территории России: современное состояние и утраты за последние 13 лет. (2013г.)</a:t>
            </a:r>
          </a:p>
        </p:txBody>
      </p:sp>
      <p:pic>
        <p:nvPicPr>
          <p:cNvPr id="18515" name="Picture 83" descr="C:\Users\1\AppData\Local\Temp\Temp1_Attachments_savaarh@yandex.ru_2018-02-21_15-47-44 (1).zip\1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632" y="433687"/>
            <a:ext cx="9144000" cy="616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638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67"/>
          <p:cNvPicPr>
            <a:picLocks noChangeAspect="1"/>
          </p:cNvPicPr>
          <p:nvPr/>
        </p:nvPicPr>
        <p:blipFill>
          <a:blip r:embed="rId16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54225" r="1331"/>
          <a:stretch>
            <a:fillRect/>
          </a:stretch>
        </p:blipFill>
        <p:spPr>
          <a:xfrm>
            <a:off x="4958331" y="1322231"/>
            <a:ext cx="3862141" cy="5122154"/>
          </a:xfrm>
          <a:custGeom>
            <a:avLst/>
            <a:gdLst>
              <a:gd name="connsiteX0" fmla="*/ 0 w 3983038"/>
              <a:gd name="connsiteY0" fmla="*/ 0 h 4271392"/>
              <a:gd name="connsiteX1" fmla="*/ 3983038 w 3983038"/>
              <a:gd name="connsiteY1" fmla="*/ 0 h 4271392"/>
              <a:gd name="connsiteX2" fmla="*/ 3983038 w 3983038"/>
              <a:gd name="connsiteY2" fmla="*/ 4271392 h 4271392"/>
              <a:gd name="connsiteX3" fmla="*/ 0 w 3983038"/>
              <a:gd name="connsiteY3" fmla="*/ 4271392 h 427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3038" h="4271392">
                <a:moveTo>
                  <a:pt x="0" y="0"/>
                </a:moveTo>
                <a:lnTo>
                  <a:pt x="3983038" y="0"/>
                </a:lnTo>
                <a:lnTo>
                  <a:pt x="3983038" y="4271392"/>
                </a:lnTo>
                <a:lnTo>
                  <a:pt x="0" y="4271392"/>
                </a:lnTo>
                <a:close/>
              </a:path>
            </a:pathLst>
          </a:cu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6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331" r="47015"/>
          <a:stretch>
            <a:fillRect/>
          </a:stretch>
        </p:blipFill>
        <p:spPr>
          <a:xfrm>
            <a:off x="421228" y="1322230"/>
            <a:ext cx="4423718" cy="5122153"/>
          </a:xfrm>
          <a:custGeom>
            <a:avLst/>
            <a:gdLst>
              <a:gd name="connsiteX0" fmla="*/ 0 w 4629151"/>
              <a:gd name="connsiteY0" fmla="*/ 0 h 4271392"/>
              <a:gd name="connsiteX1" fmla="*/ 4278290 w 4629151"/>
              <a:gd name="connsiteY1" fmla="*/ 0 h 4271392"/>
              <a:gd name="connsiteX2" fmla="*/ 4629151 w 4629151"/>
              <a:gd name="connsiteY2" fmla="*/ 1607682 h 4271392"/>
              <a:gd name="connsiteX3" fmla="*/ 4047822 w 4629151"/>
              <a:gd name="connsiteY3" fmla="*/ 4271392 h 4271392"/>
              <a:gd name="connsiteX4" fmla="*/ 0 w 4629151"/>
              <a:gd name="connsiteY4" fmla="*/ 4271392 h 427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9151" h="4271392">
                <a:moveTo>
                  <a:pt x="0" y="0"/>
                </a:moveTo>
                <a:lnTo>
                  <a:pt x="4278290" y="0"/>
                </a:lnTo>
                <a:lnTo>
                  <a:pt x="4629151" y="1607682"/>
                </a:lnTo>
                <a:lnTo>
                  <a:pt x="4047822" y="4271392"/>
                </a:lnTo>
                <a:lnTo>
                  <a:pt x="0" y="4271392"/>
                </a:lnTo>
                <a:close/>
              </a:path>
            </a:pathLst>
          </a:custGeom>
        </p:spPr>
      </p:pic>
      <p:sp>
        <p:nvSpPr>
          <p:cNvPr id="52" name="Freeform 5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6944" y="1008754"/>
            <a:ext cx="3991013" cy="303240"/>
          </a:xfrm>
          <a:custGeom>
            <a:avLst/>
            <a:gdLst>
              <a:gd name="connsiteX0" fmla="*/ 0 w 4112684"/>
              <a:gd name="connsiteY0" fmla="*/ 0 h 297203"/>
              <a:gd name="connsiteX1" fmla="*/ 4047822 w 4112684"/>
              <a:gd name="connsiteY1" fmla="*/ 0 h 297203"/>
              <a:gd name="connsiteX2" fmla="*/ 4112684 w 4112684"/>
              <a:gd name="connsiteY2" fmla="*/ 297203 h 297203"/>
              <a:gd name="connsiteX3" fmla="*/ 0 w 4112684"/>
              <a:gd name="connsiteY3" fmla="*/ 297203 h 297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2684" h="297203">
                <a:moveTo>
                  <a:pt x="0" y="0"/>
                </a:moveTo>
                <a:lnTo>
                  <a:pt x="4047822" y="0"/>
                </a:lnTo>
                <a:lnTo>
                  <a:pt x="4112684" y="297203"/>
                </a:lnTo>
                <a:lnTo>
                  <a:pt x="0" y="297203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3464" tIns="73464" rIns="73464" bIns="73464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967D5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34864"/>
            <a:ext cx="8794113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изация границ расположения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Т и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несение изменений </a:t>
            </a:r>
            <a:b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фициальную классификацию лесов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121489" y="6318043"/>
            <a:ext cx="7346678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10" indent="-621910" defTabSz="913429" fontAlgn="base">
              <a:spcBef>
                <a:spcPct val="0"/>
              </a:spcBef>
              <a:spcAft>
                <a:spcPct val="0"/>
              </a:spcAft>
              <a:tabLst>
                <a:tab pos="625148" algn="l"/>
              </a:tabLst>
            </a:pPr>
            <a:r>
              <a:rPr lang="ru-RU" sz="800" dirty="0">
                <a:solidFill>
                  <a:srgbClr val="808080"/>
                </a:solidFill>
              </a:rPr>
              <a:t>ИСТОЧНИК: Лесной кодекс РФ, </a:t>
            </a:r>
            <a:r>
              <a:rPr lang="en-US" sz="800" dirty="0">
                <a:solidFill>
                  <a:srgbClr val="808080"/>
                </a:solidFill>
              </a:rPr>
              <a:t>WWF</a:t>
            </a:r>
            <a:r>
              <a:rPr lang="ru-RU" sz="800" dirty="0">
                <a:solidFill>
                  <a:srgbClr val="808080"/>
                </a:solidFill>
              </a:rPr>
              <a:t>,анализ рабочей группы</a:t>
            </a:r>
          </a:p>
        </p:txBody>
      </p:sp>
      <p:sp>
        <p:nvSpPr>
          <p:cNvPr id="14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8778" y="1008753"/>
            <a:ext cx="4426168" cy="5435630"/>
          </a:xfrm>
          <a:prstGeom prst="homePlate">
            <a:avLst>
              <a:gd name="adj" fmla="val 12558"/>
            </a:avLst>
          </a:prstGeom>
          <a:noFill/>
          <a:ln w="19050">
            <a:solidFill>
              <a:schemeClr val="accent2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3464" tIns="73464" rIns="73464" bIns="73464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17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552" y="1676161"/>
            <a:ext cx="3717388" cy="1523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967D57"/>
              </a:buClr>
            </a:pPr>
            <a:r>
              <a:rPr lang="ru-RU" sz="1100" b="1" dirty="0">
                <a:solidFill>
                  <a:srgbClr val="967D57"/>
                </a:solidFill>
              </a:rPr>
              <a:t>Подход к определению </a:t>
            </a:r>
            <a:r>
              <a:rPr lang="ru-RU" sz="1100" dirty="0" err="1">
                <a:solidFill>
                  <a:srgbClr val="000000"/>
                </a:solidFill>
              </a:rPr>
              <a:t>МЛТ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был разработан организацией </a:t>
            </a:r>
            <a:r>
              <a:rPr lang="en-US" sz="1100" b="1" dirty="0">
                <a:solidFill>
                  <a:srgbClr val="967D57"/>
                </a:solidFill>
              </a:rPr>
              <a:t>Global Forest Watch</a:t>
            </a:r>
            <a:r>
              <a:rPr lang="en-US" sz="1100" dirty="0">
                <a:solidFill>
                  <a:srgbClr val="967D57"/>
                </a:solidFill>
              </a:rPr>
              <a:t> </a:t>
            </a:r>
            <a:r>
              <a:rPr lang="en-US" sz="1100" dirty="0">
                <a:solidFill>
                  <a:srgbClr val="000000"/>
                </a:solidFill>
              </a:rPr>
              <a:t>(</a:t>
            </a:r>
            <a:r>
              <a:rPr lang="ru-RU" sz="1100" dirty="0">
                <a:solidFill>
                  <a:srgbClr val="000000"/>
                </a:solidFill>
              </a:rPr>
              <a:t>партнерство организаций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/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en-US" sz="1100" dirty="0">
                <a:solidFill>
                  <a:srgbClr val="000000"/>
                </a:solidFill>
              </a:rPr>
              <a:t>Greenpeace, WWF </a:t>
            </a:r>
            <a:r>
              <a:rPr lang="ru-RU" sz="1100" dirty="0">
                <a:solidFill>
                  <a:srgbClr val="000000"/>
                </a:solidFill>
              </a:rPr>
              <a:t>и т.п.)</a:t>
            </a:r>
          </a:p>
          <a:p>
            <a:pPr lvl="1">
              <a:buClr>
                <a:srgbClr val="967D57"/>
              </a:buClr>
            </a:pPr>
            <a:r>
              <a:rPr lang="ru-RU" sz="1100" b="1" dirty="0">
                <a:solidFill>
                  <a:srgbClr val="967D57"/>
                </a:solidFill>
              </a:rPr>
              <a:t>Карта </a:t>
            </a:r>
            <a:r>
              <a:rPr lang="ru-RU" sz="1100" b="1" dirty="0" err="1">
                <a:solidFill>
                  <a:srgbClr val="967D57"/>
                </a:solidFill>
              </a:rPr>
              <a:t>МЛТ</a:t>
            </a:r>
            <a:r>
              <a:rPr lang="ru-RU" sz="1100" b="1" dirty="0">
                <a:solidFill>
                  <a:srgbClr val="967D57"/>
                </a:solidFill>
              </a:rPr>
              <a:t> России </a:t>
            </a:r>
            <a:r>
              <a:rPr lang="ru-RU" sz="1100" dirty="0">
                <a:solidFill>
                  <a:srgbClr val="000000"/>
                </a:solidFill>
              </a:rPr>
              <a:t>была разработана </a:t>
            </a:r>
            <a:r>
              <a:rPr lang="en-US" sz="1100" b="1" dirty="0">
                <a:solidFill>
                  <a:srgbClr val="967D57"/>
                </a:solidFill>
              </a:rPr>
              <a:t>WWF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на основе спутниковых снимков </a:t>
            </a:r>
            <a:r>
              <a:rPr lang="en-US" sz="1100" dirty="0">
                <a:solidFill>
                  <a:srgbClr val="000000"/>
                </a:solidFill>
              </a:rPr>
              <a:t>(</a:t>
            </a:r>
            <a:r>
              <a:rPr lang="ru-RU" sz="1100" dirty="0">
                <a:solidFill>
                  <a:srgbClr val="000000"/>
                </a:solidFill>
              </a:rPr>
              <a:t>последнее обновление </a:t>
            </a:r>
            <a:r>
              <a:rPr lang="ru-RU" sz="1100" b="1" dirty="0">
                <a:solidFill>
                  <a:srgbClr val="967D57"/>
                </a:solidFill>
              </a:rPr>
              <a:t>2014 г.</a:t>
            </a:r>
            <a:r>
              <a:rPr lang="ru-RU" sz="1100" dirty="0">
                <a:solidFill>
                  <a:srgbClr val="000000"/>
                </a:solidFill>
              </a:rPr>
              <a:t>)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Выбираются большие ненарушенные территории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Экологическая ценность лесов не учитывается </a:t>
            </a:r>
          </a:p>
        </p:txBody>
      </p:sp>
      <p:sp>
        <p:nvSpPr>
          <p:cNvPr id="20" name="Rectangle 28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1227" y="1074018"/>
            <a:ext cx="3835713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967D57"/>
              </a:buClr>
            </a:pPr>
            <a:r>
              <a:rPr lang="ru-RU" sz="1100" b="1" dirty="0">
                <a:solidFill>
                  <a:schemeClr val="bg1"/>
                </a:solidFill>
              </a:rPr>
              <a:t>Текущая ситуация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2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9552" y="4027638"/>
            <a:ext cx="3680234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Классификация лесов в </a:t>
            </a:r>
            <a:r>
              <a:rPr lang="ru-RU" sz="1100" b="1" dirty="0">
                <a:solidFill>
                  <a:srgbClr val="967D57"/>
                </a:solidFill>
              </a:rPr>
              <a:t>лесном кодексе </a:t>
            </a:r>
            <a:r>
              <a:rPr lang="ru-RU" sz="1100" dirty="0">
                <a:solidFill>
                  <a:srgbClr val="000000"/>
                </a:solidFill>
              </a:rPr>
              <a:t>предусматривает </a:t>
            </a:r>
            <a:r>
              <a:rPr lang="ru-RU" sz="1100" b="1" dirty="0">
                <a:solidFill>
                  <a:srgbClr val="967D57"/>
                </a:solidFill>
              </a:rPr>
              <a:t>три категории</a:t>
            </a:r>
            <a:endParaRPr lang="ru-RU" sz="1100" dirty="0">
              <a:solidFill>
                <a:srgbClr val="967D57"/>
              </a:solidFill>
            </a:endParaRP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Эксплуатационные леса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Защитные леса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Резервные леса</a:t>
            </a:r>
          </a:p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Понятие </a:t>
            </a:r>
            <a:r>
              <a:rPr lang="ru-RU" sz="1100" b="1" dirty="0" err="1">
                <a:solidFill>
                  <a:srgbClr val="967D57"/>
                </a:solidFill>
              </a:rPr>
              <a:t>МЛТ</a:t>
            </a:r>
            <a:r>
              <a:rPr lang="ru-RU" sz="1100" b="1" dirty="0">
                <a:solidFill>
                  <a:srgbClr val="967D57"/>
                </a:solidFill>
              </a:rPr>
              <a:t> не </a:t>
            </a:r>
            <a:r>
              <a:rPr lang="ru-RU" sz="1100" b="1" dirty="0" err="1">
                <a:solidFill>
                  <a:srgbClr val="967D57"/>
                </a:solidFill>
              </a:rPr>
              <a:t>сущетсвует</a:t>
            </a:r>
            <a:r>
              <a:rPr lang="ru-RU" sz="1100" dirty="0">
                <a:solidFill>
                  <a:srgbClr val="967D57"/>
                </a:solidFill>
              </a:rPr>
              <a:t> </a:t>
            </a:r>
            <a:br>
              <a:rPr lang="ru-RU" sz="1100" dirty="0">
                <a:solidFill>
                  <a:srgbClr val="967D57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в официальных документах и зоны </a:t>
            </a:r>
            <a:r>
              <a:rPr lang="ru-RU" sz="1100" dirty="0" err="1">
                <a:solidFill>
                  <a:srgbClr val="000000"/>
                </a:solidFill>
              </a:rPr>
              <a:t>МЛТ</a:t>
            </a:r>
            <a:r>
              <a:rPr lang="ru-RU" sz="1100" dirty="0">
                <a:solidFill>
                  <a:srgbClr val="000000"/>
                </a:solidFill>
              </a:rPr>
              <a:t> могут относиться </a:t>
            </a:r>
            <a:r>
              <a:rPr lang="ru-RU" sz="1100" b="1" dirty="0">
                <a:solidFill>
                  <a:srgbClr val="967D57"/>
                </a:solidFill>
              </a:rPr>
              <a:t>ко всем категориям лесов</a:t>
            </a:r>
            <a:r>
              <a:rPr lang="ru-RU" sz="1100" dirty="0">
                <a:solidFill>
                  <a:srgbClr val="000000"/>
                </a:solidFill>
              </a:rPr>
              <a:t>, включая эксплуатационные</a:t>
            </a:r>
          </a:p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При расчете арендной платы </a:t>
            </a:r>
            <a:r>
              <a:rPr lang="ru-RU" sz="1100" b="1" dirty="0">
                <a:solidFill>
                  <a:srgbClr val="967D57"/>
                </a:solidFill>
              </a:rPr>
              <a:t>лесосека зон </a:t>
            </a:r>
            <a:r>
              <a:rPr lang="ru-RU" sz="1100" b="1" dirty="0" err="1">
                <a:solidFill>
                  <a:srgbClr val="967D57"/>
                </a:solidFill>
              </a:rPr>
              <a:t>МЛТ</a:t>
            </a:r>
            <a:r>
              <a:rPr lang="ru-RU" sz="1100" b="1" dirty="0">
                <a:solidFill>
                  <a:srgbClr val="967D57"/>
                </a:solidFill>
              </a:rPr>
              <a:t> включается в расчетную</a:t>
            </a:r>
            <a:r>
              <a:rPr lang="ru-RU" sz="1100" dirty="0">
                <a:solidFill>
                  <a:srgbClr val="000000"/>
                </a:solidFill>
              </a:rPr>
              <a:t>, что увеличивает лесной сбор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235111" y="1377894"/>
            <a:ext cx="183667" cy="183656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727" tIns="36727" rIns="36727" bIns="36727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FFFFFF"/>
                </a:solidFill>
              </a:rPr>
              <a:t>1</a:t>
            </a:r>
            <a:endParaRPr lang="ru-RU" sz="1100" b="1" dirty="0" err="1">
              <a:solidFill>
                <a:srgbClr val="FFFFFF"/>
              </a:solidFill>
            </a:endParaRPr>
          </a:p>
        </p:txBody>
      </p:sp>
      <p:grpSp>
        <p:nvGrpSpPr>
          <p:cNvPr id="31" name="ACET 33"/>
          <p:cNvGrpSpPr>
            <a:grpSpLocks/>
          </p:cNvGrpSpPr>
          <p:nvPr/>
        </p:nvGrpSpPr>
        <p:grpSpPr bwMode="gray">
          <a:xfrm>
            <a:off x="256813" y="1397333"/>
            <a:ext cx="4000128" cy="192091"/>
            <a:chOff x="915" y="923"/>
            <a:chExt cx="2686" cy="107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gray">
            <a:xfrm>
              <a:off x="915" y="923"/>
              <a:ext cx="2686" cy="1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indent="184629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967D57"/>
                  </a:solidFill>
                </a:rPr>
                <a:t>Определение карты </a:t>
              </a:r>
              <a:r>
                <a:rPr lang="ru-RU" sz="1100" b="1" dirty="0" err="1">
                  <a:solidFill>
                    <a:srgbClr val="967D57"/>
                  </a:solidFill>
                </a:rPr>
                <a:t>МЛТ</a:t>
              </a:r>
              <a:endParaRPr lang="ru-RU" sz="1100" b="1" dirty="0">
                <a:solidFill>
                  <a:srgbClr val="967D57"/>
                </a:solidFill>
              </a:endParaRPr>
            </a:p>
          </p:txBody>
        </p:sp>
      </p:grpSp>
      <p:sp>
        <p:nvSpPr>
          <p:cNvPr id="13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958331" y="1008753"/>
            <a:ext cx="3862141" cy="5435630"/>
          </a:xfrm>
          <a:prstGeom prst="rect">
            <a:avLst/>
          </a:prstGeom>
          <a:noFill/>
          <a:ln w="19050">
            <a:solidFill>
              <a:schemeClr val="accent2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3464" tIns="73464" rIns="73464" bIns="73464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58331" y="1008754"/>
            <a:ext cx="3862141" cy="30324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3464" tIns="73464" rIns="73464" bIns="73464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967D57"/>
              </a:solidFill>
            </a:endParaRPr>
          </a:p>
        </p:txBody>
      </p:sp>
      <p:sp>
        <p:nvSpPr>
          <p:cNvPr id="16" name="Rectangle 286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46945" y="1074018"/>
            <a:ext cx="3886952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967D57"/>
              </a:buClr>
            </a:pPr>
            <a:r>
              <a:rPr lang="ru-RU" sz="1100" b="1" dirty="0">
                <a:solidFill>
                  <a:schemeClr val="bg1"/>
                </a:solidFill>
              </a:rPr>
              <a:t>Предлагаемые изменения/решения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8" name="Rectangle 28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46945" y="1676161"/>
            <a:ext cx="3886952" cy="224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Возможно проведение </a:t>
            </a:r>
            <a:r>
              <a:rPr lang="ru-RU" sz="1100" b="1" dirty="0">
                <a:solidFill>
                  <a:srgbClr val="967D57"/>
                </a:solidFill>
              </a:rPr>
              <a:t>ландшафтного экологического планирования </a:t>
            </a:r>
            <a:r>
              <a:rPr lang="ru-RU" sz="1100" b="1" dirty="0">
                <a:solidFill>
                  <a:srgbClr val="000000"/>
                </a:solidFill>
              </a:rPr>
              <a:t/>
            </a:r>
            <a:br>
              <a:rPr lang="ru-RU" sz="1100" b="1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(пример Финляндии    )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Анализ имеющихся лесных ресурсов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Анализ экологической ценности лесов (биоразнообразие и пр.)</a:t>
            </a:r>
          </a:p>
          <a:p>
            <a:pPr lvl="2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Разработка </a:t>
            </a:r>
            <a:r>
              <a:rPr lang="ru-RU" sz="1100" b="1" dirty="0">
                <a:solidFill>
                  <a:srgbClr val="967D57"/>
                </a:solidFill>
              </a:rPr>
              <a:t>плана освоения лесов </a:t>
            </a:r>
            <a:r>
              <a:rPr lang="ru-RU" sz="1100" dirty="0">
                <a:solidFill>
                  <a:srgbClr val="000000"/>
                </a:solidFill>
              </a:rPr>
              <a:t>с учетом заинтересованных сторон (экологов и</a:t>
            </a:r>
            <a:r>
              <a:rPr lang="en-US" sz="1100" dirty="0">
                <a:solidFill>
                  <a:srgbClr val="000000"/>
                </a:solidFill>
              </a:rPr>
              <a:t> </a:t>
            </a:r>
            <a:r>
              <a:rPr lang="ru-RU" sz="1100" dirty="0">
                <a:solidFill>
                  <a:srgbClr val="000000"/>
                </a:solidFill>
              </a:rPr>
              <a:t>лесозаготовителей)</a:t>
            </a:r>
          </a:p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Составленный план </a:t>
            </a:r>
            <a:r>
              <a:rPr lang="ru-RU" sz="1100" b="1" dirty="0">
                <a:solidFill>
                  <a:srgbClr val="967D57"/>
                </a:solidFill>
              </a:rPr>
              <a:t>позволяет вырубать </a:t>
            </a:r>
            <a:r>
              <a:rPr lang="ru-RU" sz="1100" dirty="0">
                <a:solidFill>
                  <a:srgbClr val="000000"/>
                </a:solidFill>
              </a:rPr>
              <a:t>лес в </a:t>
            </a:r>
            <a:r>
              <a:rPr lang="ru-RU" sz="1100" dirty="0" err="1">
                <a:solidFill>
                  <a:srgbClr val="000000"/>
                </a:solidFill>
              </a:rPr>
              <a:t>МЛТ</a:t>
            </a:r>
            <a:r>
              <a:rPr lang="ru-RU" sz="1100" dirty="0">
                <a:solidFill>
                  <a:srgbClr val="000000"/>
                </a:solidFill>
              </a:rPr>
              <a:t> территориях, </a:t>
            </a:r>
            <a:r>
              <a:rPr lang="ru-RU" sz="1100" b="1" dirty="0">
                <a:solidFill>
                  <a:srgbClr val="967D57"/>
                </a:solidFill>
              </a:rPr>
              <a:t>не имеющих экологической ценности</a:t>
            </a:r>
          </a:p>
          <a:p>
            <a:pPr lvl="1">
              <a:buClr>
                <a:srgbClr val="967D57"/>
              </a:buClr>
            </a:pPr>
            <a:r>
              <a:rPr lang="ru-RU" sz="1100" b="1" dirty="0">
                <a:solidFill>
                  <a:srgbClr val="967D57"/>
                </a:solidFill>
              </a:rPr>
              <a:t>Согласование данного плана</a:t>
            </a:r>
            <a:r>
              <a:rPr lang="ru-RU" sz="1100" dirty="0">
                <a:solidFill>
                  <a:srgbClr val="967D57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с </a:t>
            </a:r>
            <a:r>
              <a:rPr lang="en-US" sz="1100" dirty="0">
                <a:solidFill>
                  <a:srgbClr val="000000"/>
                </a:solidFill>
              </a:rPr>
              <a:t>WWF, </a:t>
            </a:r>
            <a:r>
              <a:rPr lang="en-US" sz="1100" dirty="0" err="1">
                <a:solidFill>
                  <a:srgbClr val="000000"/>
                </a:solidFill>
              </a:rPr>
              <a:t>FSC</a:t>
            </a:r>
            <a:r>
              <a:rPr lang="en-US" sz="1100" dirty="0">
                <a:solidFill>
                  <a:srgbClr val="000000"/>
                </a:solidFill>
              </a:rPr>
              <a:t>, Greenpeace </a:t>
            </a:r>
            <a:r>
              <a:rPr lang="ru-RU" sz="1100" dirty="0">
                <a:solidFill>
                  <a:srgbClr val="000000"/>
                </a:solidFill>
              </a:rPr>
              <a:t>и прочими экологическими организациями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" name="Rectangle 28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046945" y="4306466"/>
            <a:ext cx="3886952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Необходимо определить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b="1" dirty="0">
                <a:solidFill>
                  <a:srgbClr val="967D57"/>
                </a:solidFill>
              </a:rPr>
              <a:t>территории </a:t>
            </a:r>
            <a:r>
              <a:rPr lang="ru-RU" sz="1100" b="1" dirty="0" err="1">
                <a:solidFill>
                  <a:srgbClr val="967D57"/>
                </a:solidFill>
              </a:rPr>
              <a:t>МЛТ</a:t>
            </a:r>
            <a:r>
              <a:rPr lang="ru-RU" sz="1100" b="1" dirty="0">
                <a:solidFill>
                  <a:srgbClr val="967D57"/>
                </a:solidFill>
              </a:rPr>
              <a:t> как одну из категорий защитных лесов </a:t>
            </a:r>
            <a:r>
              <a:rPr lang="ru-RU" sz="1100" dirty="0">
                <a:solidFill>
                  <a:srgbClr val="000000"/>
                </a:solidFill>
              </a:rPr>
              <a:t>и прописать правила освоения данных территорий</a:t>
            </a:r>
          </a:p>
          <a:p>
            <a:pPr lvl="1">
              <a:buClr>
                <a:srgbClr val="967D57"/>
              </a:buClr>
            </a:pPr>
            <a:r>
              <a:rPr lang="ru-RU" sz="1100" dirty="0">
                <a:solidFill>
                  <a:srgbClr val="000000"/>
                </a:solidFill>
              </a:rPr>
              <a:t>Для участков, выдаваемых в аренду, необходимо </a:t>
            </a:r>
            <a:r>
              <a:rPr lang="ru-RU" sz="1100" b="1" dirty="0">
                <a:solidFill>
                  <a:srgbClr val="967D57"/>
                </a:solidFill>
              </a:rPr>
              <a:t>пересчитать размер арендной платы</a:t>
            </a:r>
            <a:r>
              <a:rPr lang="ru-RU" sz="1100" dirty="0">
                <a:solidFill>
                  <a:srgbClr val="000000"/>
                </a:solidFill>
              </a:rPr>
              <a:t>, без </a:t>
            </a:r>
            <a:r>
              <a:rPr lang="ru-RU" sz="1100" dirty="0" smtClean="0">
                <a:solidFill>
                  <a:srgbClr val="000000"/>
                </a:solidFill>
              </a:rPr>
              <a:t>учета</a:t>
            </a:r>
          </a:p>
          <a:p>
            <a:pPr marL="1587" lvl="1" indent="0">
              <a:buClr>
                <a:srgbClr val="967D57"/>
              </a:buClr>
              <a:buNone/>
            </a:pPr>
            <a:r>
              <a:rPr lang="ru-RU" sz="1100" dirty="0">
                <a:solidFill>
                  <a:srgbClr val="000000"/>
                </a:solidFill>
              </a:rPr>
              <a:t> </a:t>
            </a:r>
            <a:r>
              <a:rPr lang="ru-RU" sz="1100" dirty="0" smtClean="0">
                <a:solidFill>
                  <a:srgbClr val="000000"/>
                </a:solidFill>
              </a:rPr>
              <a:t>      </a:t>
            </a:r>
            <a:r>
              <a:rPr lang="ru-RU" sz="1100" dirty="0">
                <a:solidFill>
                  <a:srgbClr val="000000"/>
                </a:solidFill>
              </a:rPr>
              <a:t>территорий МЛТ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551" y="2054453"/>
            <a:ext cx="121665" cy="121658"/>
          </a:xfrm>
          <a:prstGeom prst="rect">
            <a:avLst/>
          </a:prstGeom>
        </p:spPr>
      </p:pic>
      <p:grpSp>
        <p:nvGrpSpPr>
          <p:cNvPr id="42" name="ACET 33"/>
          <p:cNvGrpSpPr>
            <a:grpSpLocks/>
          </p:cNvGrpSpPr>
          <p:nvPr/>
        </p:nvGrpSpPr>
        <p:grpSpPr bwMode="gray">
          <a:xfrm>
            <a:off x="5046945" y="1397333"/>
            <a:ext cx="3886952" cy="192091"/>
            <a:chOff x="915" y="923"/>
            <a:chExt cx="2686" cy="107"/>
          </a:xfrm>
        </p:grpSpPr>
        <p:cxnSp>
          <p:nvCxnSpPr>
            <p:cNvPr id="43" name="AutoShape 249"/>
            <p:cNvCxnSpPr>
              <a:cxnSpLocks noChangeShapeType="1"/>
              <a:stCxn id="44" idx="4"/>
              <a:endCxn id="4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4" name="AutoShape 250"/>
            <p:cNvSpPr>
              <a:spLocks noChangeArrowheads="1"/>
            </p:cNvSpPr>
            <p:nvPr/>
          </p:nvSpPr>
          <p:spPr bwMode="gray">
            <a:xfrm>
              <a:off x="915" y="923"/>
              <a:ext cx="2686" cy="1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967D57"/>
                  </a:solidFill>
                </a:rPr>
                <a:t>Проведение дополнительных исследований</a:t>
              </a:r>
            </a:p>
          </p:txBody>
        </p:sp>
      </p:grpSp>
      <p:grpSp>
        <p:nvGrpSpPr>
          <p:cNvPr id="40" name="Group 39"/>
          <p:cNvGrpSpPr>
            <a:grpSpLocks/>
          </p:cNvGrpSpPr>
          <p:nvPr/>
        </p:nvGrpSpPr>
        <p:grpSpPr>
          <a:xfrm>
            <a:off x="235113" y="3816109"/>
            <a:ext cx="4000128" cy="211528"/>
            <a:chOff x="230417" y="3928407"/>
            <a:chExt cx="3868709" cy="207317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gray">
            <a:xfrm>
              <a:off x="251685" y="4135724"/>
              <a:ext cx="3847441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5" name="Group 24"/>
            <p:cNvGrpSpPr/>
            <p:nvPr/>
          </p:nvGrpSpPr>
          <p:grpSpPr>
            <a:xfrm>
              <a:off x="230417" y="3928407"/>
              <a:ext cx="3868709" cy="207317"/>
              <a:chOff x="230417" y="4597548"/>
              <a:chExt cx="3868709" cy="207317"/>
            </a:xfrm>
          </p:grpSpPr>
          <p:sp>
            <p:nvSpPr>
              <p:cNvPr id="23" name="Oval 22"/>
              <p:cNvSpPr/>
              <p:nvPr/>
            </p:nvSpPr>
            <p:spPr>
              <a:xfrm>
                <a:off x="230417" y="4597548"/>
                <a:ext cx="180000" cy="180000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>
                    <a:solidFill>
                      <a:srgbClr val="FFFFFF"/>
                    </a:solidFill>
                  </a:rPr>
                  <a:t>2</a:t>
                </a:r>
                <a:endParaRPr lang="ru-RU" sz="1100" b="1" dirty="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AutoShape 250"/>
              <p:cNvSpPr>
                <a:spLocks noChangeArrowheads="1"/>
              </p:cNvSpPr>
              <p:nvPr/>
            </p:nvSpPr>
            <p:spPr bwMode="gray">
              <a:xfrm>
                <a:off x="251685" y="4616598"/>
                <a:ext cx="3847441" cy="18826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indent="184629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>
                    <a:solidFill>
                      <a:srgbClr val="967D57"/>
                    </a:solidFill>
                  </a:rPr>
                  <a:t>Официальный статус </a:t>
                </a:r>
                <a:r>
                  <a:rPr lang="ru-RU" sz="1100" b="1" dirty="0" err="1">
                    <a:solidFill>
                      <a:srgbClr val="967D57"/>
                    </a:solidFill>
                  </a:rPr>
                  <a:t>МЛТ</a:t>
                </a:r>
                <a:endParaRPr lang="ru-RU" sz="1100" b="1" dirty="0">
                  <a:solidFill>
                    <a:srgbClr val="967D57"/>
                  </a:solidFill>
                </a:endParaRPr>
              </a:p>
            </p:txBody>
          </p:sp>
        </p:grpSp>
      </p:grpSp>
      <p:grpSp>
        <p:nvGrpSpPr>
          <p:cNvPr id="49" name="ACET 33"/>
          <p:cNvGrpSpPr>
            <a:grpSpLocks/>
          </p:cNvGrpSpPr>
          <p:nvPr/>
        </p:nvGrpSpPr>
        <p:grpSpPr bwMode="gray">
          <a:xfrm>
            <a:off x="5046945" y="4027638"/>
            <a:ext cx="3886952" cy="192091"/>
            <a:chOff x="915" y="923"/>
            <a:chExt cx="2686" cy="107"/>
          </a:xfrm>
        </p:grpSpPr>
        <p:cxnSp>
          <p:nvCxnSpPr>
            <p:cNvPr id="50" name="AutoShape 249"/>
            <p:cNvCxnSpPr>
              <a:cxnSpLocks noChangeShapeType="1"/>
              <a:stCxn id="51" idx="4"/>
              <a:endCxn id="5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AutoShape 250"/>
            <p:cNvSpPr>
              <a:spLocks noChangeArrowheads="1"/>
            </p:cNvSpPr>
            <p:nvPr/>
          </p:nvSpPr>
          <p:spPr bwMode="gray">
            <a:xfrm>
              <a:off x="915" y="923"/>
              <a:ext cx="2686" cy="1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967D57"/>
                  </a:solidFill>
                </a:rPr>
                <a:t>Внесение поправок в Лесной кодек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6384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3794" name="Picture 2" descr="C:\Users\1\AppData\Local\Temp\Temp1_Attachments_savaarh@yandex.ru_2018-02-21_15-47-44 (1).zip\1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0568" y="116632"/>
            <a:ext cx="9758030" cy="6589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3909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839612"/>
              </p:ext>
            </p:extLst>
          </p:nvPr>
        </p:nvGraphicFramePr>
        <p:xfrm>
          <a:off x="323531" y="260650"/>
          <a:ext cx="8496943" cy="6048678"/>
        </p:xfrm>
        <a:graphic>
          <a:graphicData uri="http://schemas.openxmlformats.org/drawingml/2006/table">
            <a:tbl>
              <a:tblPr/>
              <a:tblGrid>
                <a:gridCol w="4486655"/>
                <a:gridCol w="853018"/>
                <a:gridCol w="764391"/>
                <a:gridCol w="841940"/>
                <a:gridCol w="731157"/>
                <a:gridCol w="819782"/>
              </a:tblGrid>
              <a:tr h="279324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ровень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еспеченности производственных мощностей древесным сырьем</a:t>
                      </a: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9324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О "Архангельский ЦБК", ЗАО "Лесозавод 25, ГК "ТИТАН"</a:t>
                      </a: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564">
                <a:tc>
                  <a:txBody>
                    <a:bodyPr/>
                    <a:lstStyle/>
                    <a:p>
                      <a:pPr algn="l" fontAlgn="b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1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</a:t>
                      </a:r>
                    </a:p>
                  </a:txBody>
                  <a:tcPr marL="7335" marR="7335" marT="73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ЦБК</a:t>
                      </a:r>
                    </a:p>
                  </a:txBody>
                  <a:tcPr marL="7335" marR="7335" marT="73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есозавод 25</a:t>
                      </a:r>
                    </a:p>
                  </a:txBody>
                  <a:tcPr marL="7335" marR="7335" marT="73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ЗП ГК "ТИТАН"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11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1.11.16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1.01.2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1.11.16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1.01.18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требность в древесном сырье,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б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 58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 37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37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65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иловочник хвойный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37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65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хвой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78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 57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24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листвен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80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800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1114"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еспеченность древесным сырьем,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б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065 1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 7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87 09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 ч. договора под приоритетный инвестиционный проект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065 1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 7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з них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говор  с ЛЗП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К "ТИТАН"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3 3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 7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м основании     (аукцион, конкурс)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87 09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467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1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Объем попадающий в </a:t>
                      </a:r>
                      <a:r>
                        <a:rPr lang="ru-RU" sz="1200" b="1" i="1" u="none" strike="noStrike" dirty="0" err="1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малонарушеные</a:t>
                      </a:r>
                      <a:r>
                        <a:rPr lang="ru-RU" sz="1200" b="1" i="1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 лесные территории </a:t>
                      </a:r>
                    </a:p>
                  </a:txBody>
                  <a:tcPr marL="7335" marR="7335" marT="73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42 0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8 2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46 20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41338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еспеченность древесным сырьем по видам круглых лесоматериалов, </a:t>
                      </a:r>
                      <a:r>
                        <a:rPr lang="ru-RU" sz="12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бм</a:t>
                      </a:r>
                      <a:endParaRPr lang="ru-RU" sz="1200" b="1" i="1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еловая древесина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011 84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3 66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7 736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иловочник хвойный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8 257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 008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7 877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хвой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6 041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 069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8 24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листвен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7 547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 588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 613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рова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 25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 03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 35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ефицит древесного сырья,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б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иловочник хвойный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4 627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4 627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хвой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 64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675 245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24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ансы лиственные</a:t>
                      </a:r>
                    </a:p>
                  </a:txBody>
                  <a:tcPr marL="7335" marR="7335" marT="73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178 163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 178 163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1231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7335" marR="7335" marT="73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875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14</a:t>
            </a:fld>
            <a:endParaRPr lang="ru-RU">
              <a:solidFill>
                <a:srgbClr val="073E87"/>
              </a:solidFill>
            </a:endParaRPr>
          </a:p>
        </p:txBody>
      </p:sp>
      <p:pic>
        <p:nvPicPr>
          <p:cNvPr id="35842" name="Picture 2" descr="C:\Users\1\AppData\Local\Temp\Temp1_Attachments_savaarh@yandex.ru_2018-02-21_15-47-44 (1).zip\1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00" y="-136525"/>
            <a:ext cx="10055150" cy="6994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63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15</a:t>
            </a:fld>
            <a:endParaRPr lang="ru-RU">
              <a:solidFill>
                <a:srgbClr val="073E87"/>
              </a:solidFill>
            </a:endParaRPr>
          </a:p>
        </p:txBody>
      </p:sp>
      <p:pic>
        <p:nvPicPr>
          <p:cNvPr id="36866" name="Picture 2" descr="C:\Users\1\AppData\Local\Temp\Temp1_Attachments_savaarh@yandex.ru_2018-02-21_15-47-44 (1).zip\1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6632" y="-136525"/>
            <a:ext cx="10343182" cy="6994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5524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708920"/>
            <a:ext cx="8794113" cy="314028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34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27650" name="Picture 2" descr="C:\Users\1\AppData\Local\Temp\Temp1_Attachments_savaarh@yandex.ru_2018-02-21_15-47-44 (1).zip\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8560" y="-136525"/>
            <a:ext cx="9695110" cy="6589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556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000" y="187200"/>
            <a:ext cx="8748000" cy="64951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1" tIns="45706" rIns="91411" bIns="45706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ru-RU" sz="20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ный инвестиционный проект АО «АЦБК» «Реконструкция производства картона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75556" y="3212976"/>
            <a:ext cx="8424936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1" tIns="45706" rIns="91411" bIns="45706" numCol="1" anchor="t" anchorCtr="0" compatLnSpc="1">
            <a:prstTxWarp prst="textNoShape">
              <a:avLst/>
            </a:prstTxWarp>
            <a:noAutofit/>
          </a:bodyPr>
          <a:lstStyle/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Основные цели проекта: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-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увеличение мощности предприятия до </a:t>
            </a: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976,8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spc="100" dirty="0" err="1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тыс.тонн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в год по варке;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-увеличение производительности </a:t>
            </a:r>
            <a:r>
              <a:rPr lang="ru-RU" sz="1600" spc="100" dirty="0" err="1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картоноделательных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машин №1, 2;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- сокращение затрат на производство готовой продукции.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b="1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рок реализации  </a:t>
            </a:r>
            <a:r>
              <a:rPr lang="ru-RU" sz="16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екта: 	</a:t>
            </a:r>
            <a:r>
              <a:rPr lang="ru-RU" sz="1600" b="1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2008 - 2019 гг. 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b="1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умма инвестиционных вложений: 10 814 млн. руб.</a:t>
            </a:r>
            <a:r>
              <a:rPr lang="ru-RU" sz="16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Реализация приоритетного инвестиционного проекта позволит увеличить </a:t>
            </a:r>
          </a:p>
          <a:p>
            <a:pPr algn="just" fontAlgn="base">
              <a:lnSpc>
                <a:spcPct val="150000"/>
              </a:lnSpc>
              <a:spcAft>
                <a:spcPct val="0"/>
              </a:spcAft>
            </a:pP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изводства</a:t>
            </a:r>
            <a:r>
              <a:rPr lang="ru-RU" sz="1600" spc="100" dirty="0" smtClean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: - 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картона 	</a:t>
            </a:r>
            <a:r>
              <a:rPr lang="ru-RU" sz="1600" spc="100" dirty="0" smtClean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   + </a:t>
            </a: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31,2 </a:t>
            </a:r>
            <a:r>
              <a:rPr lang="ru-RU" sz="1600" b="1" spc="100" dirty="0" err="1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тыс.тонн</a:t>
            </a: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/год</a:t>
            </a:r>
          </a:p>
          <a:p>
            <a:pPr algn="just" fontAlgn="base">
              <a:spcAft>
                <a:spcPct val="0"/>
              </a:spcAft>
            </a:pP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spc="100" dirty="0" smtClean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                    -</a:t>
            </a:r>
            <a:r>
              <a:rPr lang="ru-RU" sz="1600" spc="100" dirty="0" smtClean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spc="100" dirty="0" err="1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гофробумаги</a:t>
            </a:r>
            <a:r>
              <a:rPr lang="ru-RU" sz="1600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spc="100" dirty="0" smtClean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 + </a:t>
            </a: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97,7 </a:t>
            </a:r>
            <a:r>
              <a:rPr lang="ru-RU" sz="1600" b="1" spc="100" dirty="0" err="1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тыс.тонн</a:t>
            </a:r>
            <a:r>
              <a:rPr lang="ru-RU" sz="1600" b="1" spc="100" dirty="0">
                <a:solidFill>
                  <a:srgbClr val="33339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/год.</a:t>
            </a:r>
          </a:p>
          <a:p>
            <a:pPr algn="just" fontAlgn="base">
              <a:lnSpc>
                <a:spcPct val="120000"/>
              </a:lnSpc>
              <a:spcAft>
                <a:spcPct val="0"/>
              </a:spcAft>
            </a:pPr>
            <a:endParaRPr lang="ru-RU" sz="1300" b="1" dirty="0">
              <a:solidFill>
                <a:srgbClr val="333399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Изображение 3" descr="5картон1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126915"/>
            <a:ext cx="4968552" cy="208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0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787406" y="188640"/>
            <a:ext cx="7437216" cy="55399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оды АО «</a:t>
            </a:r>
            <a:r>
              <a:rPr lang="ru-RU" sz="18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хбум</a:t>
            </a: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по производству конечной продукции с высокой добавленной стоимостью</a:t>
            </a:r>
            <a:endParaRPr lang="ru-RU" sz="1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0" y="6249988"/>
            <a:ext cx="1162050" cy="365125"/>
          </a:xfrm>
          <a:prstGeom prst="rect">
            <a:avLst/>
          </a:prstGeom>
        </p:spPr>
        <p:txBody>
          <a:bodyPr/>
          <a:lstStyle/>
          <a:p>
            <a:fld id="{C9EB6456-6808-4B0A-B05C-BEC69725D373}" type="slidenum">
              <a:rPr lang="ru-RU" smtClean="0">
                <a:solidFill>
                  <a:srgbClr val="073E87"/>
                </a:solidFill>
              </a:rPr>
              <a:pPr/>
              <a:t>4</a:t>
            </a:fld>
            <a:endParaRPr lang="ru-RU">
              <a:solidFill>
                <a:srgbClr val="073E87"/>
              </a:solidFill>
            </a:endParaRPr>
          </a:p>
        </p:txBody>
      </p:sp>
      <p:pic>
        <p:nvPicPr>
          <p:cNvPr id="6" name="Рисунок 5" descr="http://www.pf-arkhbum.ru/images/main_building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82670"/>
            <a:ext cx="3744416" cy="1770266"/>
          </a:xfrm>
          <a:prstGeom prst="rect">
            <a:avLst/>
          </a:prstGeom>
          <a:noFill/>
          <a:ln>
            <a:noFill/>
          </a:ln>
        </p:spPr>
      </p:pic>
      <p:pic>
        <p:nvPicPr>
          <p:cNvPr id="27650" name="Picture 2" descr="производство гофротар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082670"/>
            <a:ext cx="3588228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C:\Users\1\Downloads\112064_Detailed_View_South-East (1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99" y="4221088"/>
            <a:ext cx="3578037" cy="244827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Прямоугольник 8"/>
          <p:cNvSpPr/>
          <p:nvPr/>
        </p:nvSpPr>
        <p:spPr>
          <a:xfrm>
            <a:off x="417899" y="2810862"/>
            <a:ext cx="7814337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500" dirty="0" smtClean="0">
                <a:latin typeface="Times New Roman"/>
                <a:ea typeface="Calibri"/>
                <a:cs typeface="Times New Roman"/>
              </a:rPr>
              <a:t>         С 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участием Архангельского ЦБК </a:t>
            </a:r>
            <a:r>
              <a:rPr lang="ru-RU" sz="1500" dirty="0" smtClean="0">
                <a:latin typeface="Times New Roman"/>
                <a:ea typeface="Calibri"/>
                <a:cs typeface="Times New Roman"/>
              </a:rPr>
              <a:t>построено 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2 новых завода по производству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гофрокартона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и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гофротары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в Подольском и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Истринском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районах Подмосковья, куда </a:t>
            </a:r>
            <a:r>
              <a:rPr lang="ru-RU" sz="1500" dirty="0" smtClean="0">
                <a:latin typeface="Times New Roman"/>
                <a:ea typeface="Calibri"/>
                <a:cs typeface="Times New Roman"/>
              </a:rPr>
              <a:t>комбинат 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поставляет тарный картон и бумагу для гофрирования. После введения в строй в 2018 году второй очереди </a:t>
            </a:r>
            <a:r>
              <a:rPr lang="ru-RU" sz="1500" dirty="0" smtClean="0">
                <a:latin typeface="Times New Roman"/>
                <a:ea typeface="Calibri"/>
                <a:cs typeface="Times New Roman"/>
              </a:rPr>
              <a:t>на Истре 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объем выпускаемой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гофропродукции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Подольского и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Истринского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заводов  вырастит до 600 млн. м² в год.  </a:t>
            </a:r>
            <a:endParaRPr lang="ru-RU" sz="1500" dirty="0" smtClean="0">
              <a:latin typeface="Times New Roman"/>
              <a:ea typeface="Calibri"/>
              <a:cs typeface="Times New Roman"/>
            </a:endParaRPr>
          </a:p>
          <a:p>
            <a:pPr algn="just">
              <a:spcAft>
                <a:spcPts val="0"/>
              </a:spcAft>
            </a:pP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05005" y="4380177"/>
            <a:ext cx="4572000" cy="21698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500" dirty="0" smtClean="0">
                <a:latin typeface="Times New Roman"/>
                <a:ea typeface="Calibri"/>
                <a:cs typeface="Times New Roman"/>
              </a:rPr>
              <a:t>ООО 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«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Архбум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</a:t>
            </a:r>
            <a:r>
              <a:rPr lang="ru-RU" sz="1500" dirty="0" err="1">
                <a:latin typeface="Times New Roman"/>
                <a:ea typeface="Calibri"/>
                <a:cs typeface="Times New Roman"/>
              </a:rPr>
              <a:t>Тиссью</a:t>
            </a:r>
            <a:r>
              <a:rPr lang="ru-RU" sz="1500" dirty="0">
                <a:latin typeface="Times New Roman"/>
                <a:ea typeface="Calibri"/>
                <a:cs typeface="Times New Roman"/>
              </a:rPr>
              <a:t> Групп» приступила к строительству в Калужской области завода по производству санитарно-гигиенических изделий, куда будет поставляться целлюлоза из Архангельского ЦБК. Объем инвестиций в реализацию проекта превышает 110 млн. евро. После выхода завода СГИ к 2025 году на проектную мощность объём производства бумаги–основы составит 210 тыс. т  в год.   </a:t>
            </a:r>
            <a:endParaRPr lang="ru-RU" sz="1500" dirty="0"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923928" y="4303578"/>
            <a:ext cx="4853077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1974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28674" name="Picture 2" descr="C:\Users\1\AppData\Local\Temp\Temp1_Attachments_savaarh@yandex.ru_2018-02-21_15-47-44 (1).zip\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0568" y="-136525"/>
            <a:ext cx="9767118" cy="7021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87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29698" name="Picture 2" descr="C:\Users\1\AppData\Local\Temp\Temp1_Attachments_savaarh@yandex.ru_2018-02-21_15-47-44 (1).zip\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56592" y="-99392"/>
            <a:ext cx="9919642" cy="7021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5594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30722" name="Picture 2" descr="C:\Users\1\AppData\Local\Temp\Temp1_Attachments_savaarh@yandex.ru_2018-02-21_15-47-44 (1).zip\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-136525"/>
            <a:ext cx="9163050" cy="6877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092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31746" name="Picture 2" descr="C:\Users\1\AppData\Local\Temp\Temp1_Attachments_savaarh@yandex.ru_2018-02-21_15-47-44 (1).zip\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-136525"/>
            <a:ext cx="9163050" cy="644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945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32772" name="Picture 4" descr="C:\Users\1\AppData\Local\Temp\Temp1_Attachments_savaarh@yandex.ru_2018-02-21_15-47-44 (1).zip\1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00608" y="0"/>
            <a:ext cx="1004460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0006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fN3823S.yDVeA0aaog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8dyNN.7k6wICLqWXFS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Xrukokk0C.obC66ufoV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bvil3EdUKRKSRFxNpB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P0Db4NykiY2.vSgPdO8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bvil3EdUKRKSRFxNpBK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TJxdPaDkCAlo_NtNRM3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8dyNN.7k6wICLqWXFS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eYJVMIl0ufKiYiobF.0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SqeWHDkku1ThyNvVoG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bvil3EdUKRKSRFxNpB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6_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тратегия лесопромышленного комплекса.potx" id="{9B75C147-B22C-499E-B9D3-31A95D9FB6FF}" vid="{A9235241-713E-4073-BE9F-28E29B7E54F1}"/>
    </a:ext>
  </a:extLst>
</a:theme>
</file>

<file path=ppt/theme/theme2.xml><?xml version="1.0" encoding="utf-8"?>
<a:theme xmlns:a="http://schemas.openxmlformats.org/drawingml/2006/main" name="7_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тратегия лесопромышленного комплекса.potx" id="{9B75C147-B22C-499E-B9D3-31A95D9FB6FF}" vid="{A9235241-713E-4073-BE9F-28E29B7E54F1}"/>
    </a:ext>
  </a:extLst>
</a:theme>
</file>

<file path=ppt/theme/theme3.xml><?xml version="1.0" encoding="utf-8"?>
<a:theme xmlns:a="http://schemas.openxmlformats.org/drawingml/2006/main" name="8_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тратегия лесопромышленного комплекса.potx" id="{9B75C147-B22C-499E-B9D3-31A95D9FB6FF}" vid="{A9235241-713E-4073-BE9F-28E29B7E54F1}"/>
    </a:ext>
  </a:extLst>
</a:theme>
</file>

<file path=ppt/theme/theme4.xml><?xml version="1.0" encoding="utf-8"?>
<a:theme xmlns:a="http://schemas.openxmlformats.org/drawingml/2006/main" name="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Стратегия лесопромышленного комплекса.potx" id="{9B75C147-B22C-499E-B9D3-31A95D9FB6FF}" vid="{A9235241-713E-4073-BE9F-28E29B7E54F1}"/>
    </a:ext>
  </a:extLst>
</a:theme>
</file>

<file path=ppt/theme/theme5.xml><?xml version="1.0" encoding="utf-8"?>
<a:theme xmlns:a="http://schemas.openxmlformats.org/drawingml/2006/main" name="1_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Стратегия лесопромышленного комплекса.potx" id="{9B75C147-B22C-499E-B9D3-31A95D9FB6FF}" vid="{A9235241-713E-4073-BE9F-28E29B7E54F1}"/>
    </a:ext>
  </a:extLst>
</a:theme>
</file>

<file path=ppt/theme/theme6.xml><?xml version="1.0" encoding="utf-8"?>
<a:theme xmlns:a="http://schemas.openxmlformats.org/drawingml/2006/main" name="9_Firm Format - template_Blue">
  <a:themeElements>
    <a:clrScheme name="New2">
      <a:dk1>
        <a:srgbClr val="000000"/>
      </a:dk1>
      <a:lt1>
        <a:srgbClr val="FFFFFF"/>
      </a:lt1>
      <a:dk2>
        <a:srgbClr val="967D57"/>
      </a:dk2>
      <a:lt2>
        <a:srgbClr val="FFFFFF"/>
      </a:lt2>
      <a:accent1>
        <a:srgbClr val="FFEAA7"/>
      </a:accent1>
      <a:accent2>
        <a:srgbClr val="E0D6C4"/>
      </a:accent2>
      <a:accent3>
        <a:srgbClr val="7AC143"/>
      </a:accent3>
      <a:accent4>
        <a:srgbClr val="967D57"/>
      </a:accent4>
      <a:accent5>
        <a:srgbClr val="F27F00"/>
      </a:accent5>
      <a:accent6>
        <a:srgbClr val="808080"/>
      </a:accent6>
      <a:hlink>
        <a:srgbClr val="7AC143"/>
      </a:hlink>
      <a:folHlink>
        <a:srgbClr val="967D5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CAE6B4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тратегия лесопромышленного комплекса.potx" id="{9B75C147-B22C-499E-B9D3-31A95D9FB6FF}" vid="{A9235241-713E-4073-BE9F-28E29B7E54F1}"/>
    </a:ext>
  </a:extLst>
</a:theme>
</file>

<file path=ppt/theme/theme7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D6ECFF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8</TotalTime>
  <Words>517</Words>
  <Application>Microsoft Office PowerPoint</Application>
  <PresentationFormat>Экран (4:3)</PresentationFormat>
  <Paragraphs>191</Paragraphs>
  <Slides>16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4" baseType="lpstr">
      <vt:lpstr>6_Firm Format - template_Blue</vt:lpstr>
      <vt:lpstr>7_Firm Format - template_Blue</vt:lpstr>
      <vt:lpstr>8_Firm Format - template_Blue</vt:lpstr>
      <vt:lpstr>Firm Format - template_Blue</vt:lpstr>
      <vt:lpstr>1_Firm Format - template_Blue</vt:lpstr>
      <vt:lpstr>9_Firm Format - template_Blue</vt:lpstr>
      <vt:lpstr>Тема Office</vt:lpstr>
      <vt:lpstr>think-cell Slide</vt:lpstr>
      <vt:lpstr>Меры по улучшению лесообеспечения эффективно работающих компаний.        Директор по взаимодействию с  государственными органами власти, д.э.н. Пинягина Наталья Борисовна         Конференция, 2018г. </vt:lpstr>
      <vt:lpstr>Презентация PowerPoint</vt:lpstr>
      <vt:lpstr>Приоритетный инвестиционный проект АО «АЦБК» «Реконструкция производства картона»</vt:lpstr>
      <vt:lpstr>Заводы АО «Архбум» по производству конечной продукции с высокой добавленной стоимость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ктуализация границ расположения МЛТ и внесение изменений  в официальную классификацию лесов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траты АО «АЦБК» на освоение лесного фонда (2010- 2016)</dc:title>
  <dc:creator>1</dc:creator>
  <cp:lastModifiedBy>hope-new</cp:lastModifiedBy>
  <cp:revision>110</cp:revision>
  <dcterms:created xsi:type="dcterms:W3CDTF">2017-10-26T07:43:26Z</dcterms:created>
  <dcterms:modified xsi:type="dcterms:W3CDTF">2018-05-07T10:30:07Z</dcterms:modified>
</cp:coreProperties>
</file>